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  <p:sldMasterId id="2147483911" r:id="rId5"/>
  </p:sldMasterIdLst>
  <p:notesMasterIdLst>
    <p:notesMasterId r:id="rId19"/>
  </p:notesMasterIdLst>
  <p:handoutMasterIdLst>
    <p:handoutMasterId r:id="rId20"/>
  </p:handoutMasterIdLst>
  <p:sldIdLst>
    <p:sldId id="340" r:id="rId6"/>
    <p:sldId id="341" r:id="rId7"/>
    <p:sldId id="342" r:id="rId8"/>
    <p:sldId id="343" r:id="rId9"/>
    <p:sldId id="344" r:id="rId10"/>
    <p:sldId id="345" r:id="rId11"/>
    <p:sldId id="346" r:id="rId12"/>
    <p:sldId id="347" r:id="rId13"/>
    <p:sldId id="348" r:id="rId14"/>
    <p:sldId id="349" r:id="rId15"/>
    <p:sldId id="350" r:id="rId16"/>
    <p:sldId id="351" r:id="rId17"/>
    <p:sldId id="352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2341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6327"/>
    <a:srgbClr val="01D1D0"/>
    <a:srgbClr val="E6E7E7"/>
    <a:srgbClr val="7F7F7F"/>
    <a:srgbClr val="6D64CC"/>
    <a:srgbClr val="7E39BA"/>
    <a:srgbClr val="4701A7"/>
    <a:srgbClr val="C8FF16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2937" autoAdjust="0"/>
  </p:normalViewPr>
  <p:slideViewPr>
    <p:cSldViewPr>
      <p:cViewPr>
        <p:scale>
          <a:sx n="125" d="100"/>
          <a:sy n="125" d="100"/>
        </p:scale>
        <p:origin x="-192" y="222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716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1000" smtClean="0"/>
              <a:pPr/>
              <a:t>03-10-2019</a:t>
            </a:fld>
            <a:endParaRPr lang="pt-PT" sz="100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1000" smtClean="0"/>
              <a:pPr/>
              <a:t>‹#›</a:t>
            </a:fld>
            <a:endParaRPr lang="pt-PT" sz="10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835B8F7-DAC4-4931-8AED-4356A8B2FD64}" type="datetimeFigureOut">
              <a:rPr lang="pt-BR" smtClean="0"/>
              <a:pPr/>
              <a:t>03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 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pt-BR" dirty="0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4572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indent="0" algn="l" defTabSz="914400" rtl="0" eaLnBrk="1" latinLnBrk="0" hangingPunct="1">
      <a:buFont typeface="Arial" panose="020B0604020202020204" pitchFamily="34" charset="0"/>
      <a:buNone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94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116542" y="1413000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6542" y="303102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6D7F1DAF-4DBA-47FA-A53E-A3398D3B857F}"/>
              </a:ext>
            </a:extLst>
          </p:cNvPr>
          <p:cNvGrpSpPr/>
          <p:nvPr userDrawn="1"/>
        </p:nvGrpSpPr>
        <p:grpSpPr>
          <a:xfrm rot="16200000" flipV="1">
            <a:off x="385189" y="782287"/>
            <a:ext cx="5684520" cy="6485378"/>
            <a:chOff x="5470" y="2234087"/>
            <a:chExt cx="4052922" cy="4623913"/>
          </a:xfrm>
        </p:grpSpPr>
        <p:sp>
          <p:nvSpPr>
            <p:cNvPr id="20" name="Freeform 12">
              <a:extLst>
                <a:ext uri="{FF2B5EF4-FFF2-40B4-BE49-F238E27FC236}">
                  <a16:creationId xmlns="" xmlns:a16="http://schemas.microsoft.com/office/drawing/2014/main" id="{2B538EB8-80C8-4D70-A507-3D6779A644C4}"/>
                </a:ext>
              </a:extLst>
            </p:cNvPr>
            <p:cNvSpPr/>
            <p:nvPr userDrawn="1"/>
          </p:nvSpPr>
          <p:spPr>
            <a:xfrm>
              <a:off x="10084" y="2234087"/>
              <a:ext cx="3659796" cy="2995332"/>
            </a:xfrm>
            <a:custGeom>
              <a:avLst/>
              <a:gdLst>
                <a:gd name="connsiteX0" fmla="*/ 3573556 w 3573556"/>
                <a:gd name="connsiteY0" fmla="*/ 1801906 h 2844053"/>
                <a:gd name="connsiteX1" fmla="*/ 0 w 3573556"/>
                <a:gd name="connsiteY1" fmla="*/ 0 h 2844053"/>
                <a:gd name="connsiteX2" fmla="*/ 6724 w 3573556"/>
                <a:gd name="connsiteY2" fmla="*/ 2844053 h 2844053"/>
                <a:gd name="connsiteX3" fmla="*/ 3573556 w 3573556"/>
                <a:gd name="connsiteY3" fmla="*/ 1801906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25470 h 2844053"/>
                <a:gd name="connsiteX1" fmla="*/ 0 w 3603812"/>
                <a:gd name="connsiteY1" fmla="*/ 0 h 2844053"/>
                <a:gd name="connsiteX2" fmla="*/ 6724 w 3603812"/>
                <a:gd name="connsiteY2" fmla="*/ 2844053 h 2844053"/>
                <a:gd name="connsiteX3" fmla="*/ 3603812 w 3603812"/>
                <a:gd name="connsiteY3" fmla="*/ 1725470 h 284405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03812 w 3603812"/>
                <a:gd name="connsiteY0" fmla="*/ 1719100 h 2837683"/>
                <a:gd name="connsiteX1" fmla="*/ 0 w 3603812"/>
                <a:gd name="connsiteY1" fmla="*/ 0 h 2837683"/>
                <a:gd name="connsiteX2" fmla="*/ 6724 w 3603812"/>
                <a:gd name="connsiteY2" fmla="*/ 2837683 h 2837683"/>
                <a:gd name="connsiteX3" fmla="*/ 3603812 w 3603812"/>
                <a:gd name="connsiteY3" fmla="*/ 1719100 h 2837683"/>
                <a:gd name="connsiteX0" fmla="*/ 3659796 w 3659796"/>
                <a:gd name="connsiteY0" fmla="*/ 1783924 h 2837683"/>
                <a:gd name="connsiteX1" fmla="*/ 0 w 3659796"/>
                <a:gd name="connsiteY1" fmla="*/ 0 h 2837683"/>
                <a:gd name="connsiteX2" fmla="*/ 6724 w 3659796"/>
                <a:gd name="connsiteY2" fmla="*/ 2837683 h 2837683"/>
                <a:gd name="connsiteX3" fmla="*/ 3659796 w 3659796"/>
                <a:gd name="connsiteY3" fmla="*/ 1783924 h 2837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796" h="2837683">
                  <a:moveTo>
                    <a:pt x="3659796" y="1783924"/>
                  </a:moveTo>
                  <a:cubicBezTo>
                    <a:pt x="2347587" y="893468"/>
                    <a:pt x="1251698" y="495536"/>
                    <a:pt x="0" y="0"/>
                  </a:cubicBezTo>
                  <a:cubicBezTo>
                    <a:pt x="2241" y="948018"/>
                    <a:pt x="4483" y="1889665"/>
                    <a:pt x="6724" y="2837683"/>
                  </a:cubicBezTo>
                  <a:lnTo>
                    <a:pt x="3659796" y="1783924"/>
                  </a:lnTo>
                  <a:close/>
                </a:path>
              </a:pathLst>
            </a:cu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="" xmlns:a16="http://schemas.microsoft.com/office/drawing/2014/main" id="{ECBA672F-10BE-405C-BAC5-F611B90033CB}"/>
                </a:ext>
              </a:extLst>
            </p:cNvPr>
            <p:cNvSpPr/>
            <p:nvPr userDrawn="1"/>
          </p:nvSpPr>
          <p:spPr>
            <a:xfrm>
              <a:off x="5470" y="3922052"/>
              <a:ext cx="4052922" cy="2935948"/>
            </a:xfrm>
            <a:custGeom>
              <a:avLst/>
              <a:gdLst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14793 w 3560164"/>
                <a:gd name="connsiteY3" fmla="*/ 929390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378666 w 3560164"/>
                <a:gd name="connsiteY3" fmla="*/ 1531146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2885606 h 2885606"/>
                <a:gd name="connsiteX1" fmla="*/ 0 w 3560164"/>
                <a:gd name="connsiteY1" fmla="*/ 2848131 h 2885606"/>
                <a:gd name="connsiteX2" fmla="*/ 14990 w 3560164"/>
                <a:gd name="connsiteY2" fmla="*/ 517160 h 2885606"/>
                <a:gd name="connsiteX3" fmla="*/ 297984 w 3560164"/>
                <a:gd name="connsiteY3" fmla="*/ 919304 h 2885606"/>
                <a:gd name="connsiteX4" fmla="*/ 3515193 w 3560164"/>
                <a:gd name="connsiteY4" fmla="*/ 0 h 2885606"/>
                <a:gd name="connsiteX5" fmla="*/ 3560164 w 3560164"/>
                <a:gd name="connsiteY5" fmla="*/ 2885606 h 2885606"/>
                <a:gd name="connsiteX0" fmla="*/ 3560164 w 3560164"/>
                <a:gd name="connsiteY0" fmla="*/ 3168208 h 3168208"/>
                <a:gd name="connsiteX1" fmla="*/ 0 w 3560164"/>
                <a:gd name="connsiteY1" fmla="*/ 3130733 h 3168208"/>
                <a:gd name="connsiteX2" fmla="*/ 14990 w 3560164"/>
                <a:gd name="connsiteY2" fmla="*/ 799762 h 3168208"/>
                <a:gd name="connsiteX3" fmla="*/ 297984 w 3560164"/>
                <a:gd name="connsiteY3" fmla="*/ 1201906 h 3168208"/>
                <a:gd name="connsiteX4" fmla="*/ 3515193 w 3560164"/>
                <a:gd name="connsiteY4" fmla="*/ 282602 h 3168208"/>
                <a:gd name="connsiteX5" fmla="*/ 3560164 w 3560164"/>
                <a:gd name="connsiteY5" fmla="*/ 3168208 h 3168208"/>
                <a:gd name="connsiteX0" fmla="*/ 3560164 w 3995016"/>
                <a:gd name="connsiteY0" fmla="*/ 3066756 h 3066756"/>
                <a:gd name="connsiteX1" fmla="*/ 0 w 3995016"/>
                <a:gd name="connsiteY1" fmla="*/ 3029281 h 3066756"/>
                <a:gd name="connsiteX2" fmla="*/ 14990 w 3995016"/>
                <a:gd name="connsiteY2" fmla="*/ 698310 h 3066756"/>
                <a:gd name="connsiteX3" fmla="*/ 297984 w 3995016"/>
                <a:gd name="connsiteY3" fmla="*/ 1100454 h 3066756"/>
                <a:gd name="connsiteX4" fmla="*/ 3515193 w 3995016"/>
                <a:gd name="connsiteY4" fmla="*/ 181150 h 3066756"/>
                <a:gd name="connsiteX5" fmla="*/ 3560164 w 3995016"/>
                <a:gd name="connsiteY5" fmla="*/ 3066756 h 3066756"/>
                <a:gd name="connsiteX0" fmla="*/ 3560164 w 4081667"/>
                <a:gd name="connsiteY0" fmla="*/ 3066756 h 3066756"/>
                <a:gd name="connsiteX1" fmla="*/ 0 w 4081667"/>
                <a:gd name="connsiteY1" fmla="*/ 3029281 h 3066756"/>
                <a:gd name="connsiteX2" fmla="*/ 14990 w 4081667"/>
                <a:gd name="connsiteY2" fmla="*/ 698310 h 3066756"/>
                <a:gd name="connsiteX3" fmla="*/ 297984 w 4081667"/>
                <a:gd name="connsiteY3" fmla="*/ 1100454 h 3066756"/>
                <a:gd name="connsiteX4" fmla="*/ 3515193 w 4081667"/>
                <a:gd name="connsiteY4" fmla="*/ 181150 h 3066756"/>
                <a:gd name="connsiteX5" fmla="*/ 3560164 w 4081667"/>
                <a:gd name="connsiteY5" fmla="*/ 3066756 h 3066756"/>
                <a:gd name="connsiteX0" fmla="*/ 3560164 w 3972124"/>
                <a:gd name="connsiteY0" fmla="*/ 2986772 h 2986772"/>
                <a:gd name="connsiteX1" fmla="*/ 0 w 3972124"/>
                <a:gd name="connsiteY1" fmla="*/ 2949297 h 2986772"/>
                <a:gd name="connsiteX2" fmla="*/ 14990 w 3972124"/>
                <a:gd name="connsiteY2" fmla="*/ 618326 h 2986772"/>
                <a:gd name="connsiteX3" fmla="*/ 297984 w 3972124"/>
                <a:gd name="connsiteY3" fmla="*/ 1020470 h 2986772"/>
                <a:gd name="connsiteX4" fmla="*/ 3515193 w 3972124"/>
                <a:gd name="connsiteY4" fmla="*/ 101166 h 2986772"/>
                <a:gd name="connsiteX5" fmla="*/ 3560164 w 3972124"/>
                <a:gd name="connsiteY5" fmla="*/ 2986772 h 2986772"/>
                <a:gd name="connsiteX0" fmla="*/ 3560164 w 3851466"/>
                <a:gd name="connsiteY0" fmla="*/ 2932294 h 2932294"/>
                <a:gd name="connsiteX1" fmla="*/ 0 w 3851466"/>
                <a:gd name="connsiteY1" fmla="*/ 2894819 h 2932294"/>
                <a:gd name="connsiteX2" fmla="*/ 14990 w 3851466"/>
                <a:gd name="connsiteY2" fmla="*/ 563848 h 2932294"/>
                <a:gd name="connsiteX3" fmla="*/ 297984 w 3851466"/>
                <a:gd name="connsiteY3" fmla="*/ 965992 h 2932294"/>
                <a:gd name="connsiteX4" fmla="*/ 3515193 w 3851466"/>
                <a:gd name="connsiteY4" fmla="*/ 46688 h 2932294"/>
                <a:gd name="connsiteX5" fmla="*/ 3560164 w 3851466"/>
                <a:gd name="connsiteY5" fmla="*/ 2932294 h 2932294"/>
                <a:gd name="connsiteX0" fmla="*/ 3560164 w 3851466"/>
                <a:gd name="connsiteY0" fmla="*/ 2923744 h 2923744"/>
                <a:gd name="connsiteX1" fmla="*/ 0 w 3851466"/>
                <a:gd name="connsiteY1" fmla="*/ 2886269 h 2923744"/>
                <a:gd name="connsiteX2" fmla="*/ 14990 w 3851466"/>
                <a:gd name="connsiteY2" fmla="*/ 555298 h 2923744"/>
                <a:gd name="connsiteX3" fmla="*/ 297984 w 3851466"/>
                <a:gd name="connsiteY3" fmla="*/ 957442 h 2923744"/>
                <a:gd name="connsiteX4" fmla="*/ 3515193 w 3851466"/>
                <a:gd name="connsiteY4" fmla="*/ 38138 h 2923744"/>
                <a:gd name="connsiteX5" fmla="*/ 3560164 w 3851466"/>
                <a:gd name="connsiteY5" fmla="*/ 2923744 h 2923744"/>
                <a:gd name="connsiteX0" fmla="*/ 3560164 w 3868339"/>
                <a:gd name="connsiteY0" fmla="*/ 2887665 h 2887665"/>
                <a:gd name="connsiteX1" fmla="*/ 0 w 3868339"/>
                <a:gd name="connsiteY1" fmla="*/ 2850190 h 2887665"/>
                <a:gd name="connsiteX2" fmla="*/ 14990 w 3868339"/>
                <a:gd name="connsiteY2" fmla="*/ 519219 h 2887665"/>
                <a:gd name="connsiteX3" fmla="*/ 297984 w 3868339"/>
                <a:gd name="connsiteY3" fmla="*/ 921363 h 2887665"/>
                <a:gd name="connsiteX4" fmla="*/ 3545449 w 3868339"/>
                <a:gd name="connsiteY4" fmla="*/ 39038 h 2887665"/>
                <a:gd name="connsiteX5" fmla="*/ 3560164 w 3868339"/>
                <a:gd name="connsiteY5" fmla="*/ 2887665 h 2887665"/>
                <a:gd name="connsiteX0" fmla="*/ 3560164 w 4050446"/>
                <a:gd name="connsiteY0" fmla="*/ 2944210 h 2944210"/>
                <a:gd name="connsiteX1" fmla="*/ 0 w 4050446"/>
                <a:gd name="connsiteY1" fmla="*/ 2906735 h 2944210"/>
                <a:gd name="connsiteX2" fmla="*/ 14990 w 4050446"/>
                <a:gd name="connsiteY2" fmla="*/ 575764 h 2944210"/>
                <a:gd name="connsiteX3" fmla="*/ 297984 w 4050446"/>
                <a:gd name="connsiteY3" fmla="*/ 977908 h 2944210"/>
                <a:gd name="connsiteX4" fmla="*/ 3545449 w 4050446"/>
                <a:gd name="connsiteY4" fmla="*/ 95583 h 2944210"/>
                <a:gd name="connsiteX5" fmla="*/ 3560164 w 4050446"/>
                <a:gd name="connsiteY5" fmla="*/ 2944210 h 2944210"/>
                <a:gd name="connsiteX0" fmla="*/ 3560164 w 3989640"/>
                <a:gd name="connsiteY0" fmla="*/ 2924406 h 2924406"/>
                <a:gd name="connsiteX1" fmla="*/ 0 w 3989640"/>
                <a:gd name="connsiteY1" fmla="*/ 2886931 h 2924406"/>
                <a:gd name="connsiteX2" fmla="*/ 14990 w 3989640"/>
                <a:gd name="connsiteY2" fmla="*/ 555960 h 2924406"/>
                <a:gd name="connsiteX3" fmla="*/ 297984 w 3989640"/>
                <a:gd name="connsiteY3" fmla="*/ 958104 h 2924406"/>
                <a:gd name="connsiteX4" fmla="*/ 3545449 w 3989640"/>
                <a:gd name="connsiteY4" fmla="*/ 75779 h 2924406"/>
                <a:gd name="connsiteX5" fmla="*/ 3560164 w 3989640"/>
                <a:gd name="connsiteY5" fmla="*/ 2924406 h 2924406"/>
                <a:gd name="connsiteX0" fmla="*/ 3560164 w 4014175"/>
                <a:gd name="connsiteY0" fmla="*/ 2948316 h 2948316"/>
                <a:gd name="connsiteX1" fmla="*/ 0 w 4014175"/>
                <a:gd name="connsiteY1" fmla="*/ 2910841 h 2948316"/>
                <a:gd name="connsiteX2" fmla="*/ 14990 w 4014175"/>
                <a:gd name="connsiteY2" fmla="*/ 579870 h 2948316"/>
                <a:gd name="connsiteX3" fmla="*/ 297984 w 4014175"/>
                <a:gd name="connsiteY3" fmla="*/ 982014 h 2948316"/>
                <a:gd name="connsiteX4" fmla="*/ 3545449 w 4014175"/>
                <a:gd name="connsiteY4" fmla="*/ 99689 h 2948316"/>
                <a:gd name="connsiteX5" fmla="*/ 3560164 w 4014175"/>
                <a:gd name="connsiteY5" fmla="*/ 2948316 h 2948316"/>
                <a:gd name="connsiteX0" fmla="*/ 3560164 w 4014175"/>
                <a:gd name="connsiteY0" fmla="*/ 2946856 h 2946856"/>
                <a:gd name="connsiteX1" fmla="*/ 0 w 4014175"/>
                <a:gd name="connsiteY1" fmla="*/ 2909381 h 2946856"/>
                <a:gd name="connsiteX2" fmla="*/ 14990 w 4014175"/>
                <a:gd name="connsiteY2" fmla="*/ 578410 h 2946856"/>
                <a:gd name="connsiteX3" fmla="*/ 297984 w 4014175"/>
                <a:gd name="connsiteY3" fmla="*/ 980554 h 2946856"/>
                <a:gd name="connsiteX4" fmla="*/ 3545449 w 4014175"/>
                <a:gd name="connsiteY4" fmla="*/ 98229 h 2946856"/>
                <a:gd name="connsiteX5" fmla="*/ 3560164 w 4014175"/>
                <a:gd name="connsiteY5" fmla="*/ 2946856 h 2946856"/>
                <a:gd name="connsiteX0" fmla="*/ 3583696 w 3892754"/>
                <a:gd name="connsiteY0" fmla="*/ 2889822 h 2889822"/>
                <a:gd name="connsiteX1" fmla="*/ 0 w 3892754"/>
                <a:gd name="connsiteY1" fmla="*/ 2859071 h 2889822"/>
                <a:gd name="connsiteX2" fmla="*/ 14990 w 3892754"/>
                <a:gd name="connsiteY2" fmla="*/ 528100 h 2889822"/>
                <a:gd name="connsiteX3" fmla="*/ 297984 w 3892754"/>
                <a:gd name="connsiteY3" fmla="*/ 930244 h 2889822"/>
                <a:gd name="connsiteX4" fmla="*/ 3545449 w 3892754"/>
                <a:gd name="connsiteY4" fmla="*/ 47919 h 2889822"/>
                <a:gd name="connsiteX5" fmla="*/ 3583696 w 3892754"/>
                <a:gd name="connsiteY5" fmla="*/ 2889822 h 2889822"/>
                <a:gd name="connsiteX0" fmla="*/ 3583696 w 4065589"/>
                <a:gd name="connsiteY0" fmla="*/ 2889822 h 2889822"/>
                <a:gd name="connsiteX1" fmla="*/ 0 w 4065589"/>
                <a:gd name="connsiteY1" fmla="*/ 2859071 h 2889822"/>
                <a:gd name="connsiteX2" fmla="*/ 14990 w 4065589"/>
                <a:gd name="connsiteY2" fmla="*/ 528100 h 2889822"/>
                <a:gd name="connsiteX3" fmla="*/ 297984 w 4065589"/>
                <a:gd name="connsiteY3" fmla="*/ 930244 h 2889822"/>
                <a:gd name="connsiteX4" fmla="*/ 3545449 w 4065589"/>
                <a:gd name="connsiteY4" fmla="*/ 47919 h 2889822"/>
                <a:gd name="connsiteX5" fmla="*/ 3583696 w 4065589"/>
                <a:gd name="connsiteY5" fmla="*/ 2889822 h 2889822"/>
                <a:gd name="connsiteX0" fmla="*/ 3583696 w 4193107"/>
                <a:gd name="connsiteY0" fmla="*/ 2939141 h 2939141"/>
                <a:gd name="connsiteX1" fmla="*/ 0 w 4193107"/>
                <a:gd name="connsiteY1" fmla="*/ 2908390 h 2939141"/>
                <a:gd name="connsiteX2" fmla="*/ 14990 w 4193107"/>
                <a:gd name="connsiteY2" fmla="*/ 577419 h 2939141"/>
                <a:gd name="connsiteX3" fmla="*/ 297984 w 4193107"/>
                <a:gd name="connsiteY3" fmla="*/ 979563 h 2939141"/>
                <a:gd name="connsiteX4" fmla="*/ 3545449 w 4193107"/>
                <a:gd name="connsiteY4" fmla="*/ 97238 h 2939141"/>
                <a:gd name="connsiteX5" fmla="*/ 3583696 w 4193107"/>
                <a:gd name="connsiteY5" fmla="*/ 2939141 h 2939141"/>
                <a:gd name="connsiteX0" fmla="*/ 3583696 w 4066579"/>
                <a:gd name="connsiteY0" fmla="*/ 2939141 h 2939141"/>
                <a:gd name="connsiteX1" fmla="*/ 0 w 4066579"/>
                <a:gd name="connsiteY1" fmla="*/ 2908390 h 2939141"/>
                <a:gd name="connsiteX2" fmla="*/ 14990 w 4066579"/>
                <a:gd name="connsiteY2" fmla="*/ 577419 h 2939141"/>
                <a:gd name="connsiteX3" fmla="*/ 297984 w 4066579"/>
                <a:gd name="connsiteY3" fmla="*/ 979563 h 2939141"/>
                <a:gd name="connsiteX4" fmla="*/ 3545449 w 4066579"/>
                <a:gd name="connsiteY4" fmla="*/ 97238 h 2939141"/>
                <a:gd name="connsiteX5" fmla="*/ 3583696 w 4066579"/>
                <a:gd name="connsiteY5" fmla="*/ 2939141 h 2939141"/>
                <a:gd name="connsiteX0" fmla="*/ 3583696 w 4058392"/>
                <a:gd name="connsiteY0" fmla="*/ 2935948 h 2935948"/>
                <a:gd name="connsiteX1" fmla="*/ 0 w 4058392"/>
                <a:gd name="connsiteY1" fmla="*/ 2905197 h 2935948"/>
                <a:gd name="connsiteX2" fmla="*/ 14990 w 4058392"/>
                <a:gd name="connsiteY2" fmla="*/ 574226 h 2935948"/>
                <a:gd name="connsiteX3" fmla="*/ 297984 w 4058392"/>
                <a:gd name="connsiteY3" fmla="*/ 976370 h 2935948"/>
                <a:gd name="connsiteX4" fmla="*/ 3532002 w 4058392"/>
                <a:gd name="connsiteY4" fmla="*/ 97407 h 2935948"/>
                <a:gd name="connsiteX5" fmla="*/ 3583696 w 405839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  <a:gd name="connsiteX0" fmla="*/ 3578226 w 4052922"/>
                <a:gd name="connsiteY0" fmla="*/ 2935948 h 2935948"/>
                <a:gd name="connsiteX1" fmla="*/ 0 w 4052922"/>
                <a:gd name="connsiteY1" fmla="*/ 2927075 h 2935948"/>
                <a:gd name="connsiteX2" fmla="*/ 9520 w 4052922"/>
                <a:gd name="connsiteY2" fmla="*/ 574226 h 2935948"/>
                <a:gd name="connsiteX3" fmla="*/ 292514 w 4052922"/>
                <a:gd name="connsiteY3" fmla="*/ 976370 h 2935948"/>
                <a:gd name="connsiteX4" fmla="*/ 3526532 w 4052922"/>
                <a:gd name="connsiteY4" fmla="*/ 97407 h 2935948"/>
                <a:gd name="connsiteX5" fmla="*/ 3578226 w 4052922"/>
                <a:gd name="connsiteY5" fmla="*/ 2935948 h 2935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2922" h="2935948">
                  <a:moveTo>
                    <a:pt x="3578226" y="2935948"/>
                  </a:moveTo>
                  <a:lnTo>
                    <a:pt x="0" y="2927075"/>
                  </a:lnTo>
                  <a:cubicBezTo>
                    <a:pt x="4997" y="2150085"/>
                    <a:pt x="4523" y="1351216"/>
                    <a:pt x="9520" y="574226"/>
                  </a:cubicBezTo>
                  <a:lnTo>
                    <a:pt x="292514" y="976370"/>
                  </a:lnTo>
                  <a:cubicBezTo>
                    <a:pt x="1181802" y="1226354"/>
                    <a:pt x="2622566" y="-407363"/>
                    <a:pt x="3526532" y="97407"/>
                  </a:cubicBezTo>
                  <a:cubicBezTo>
                    <a:pt x="4430498" y="602177"/>
                    <a:pt x="3980095" y="2347234"/>
                    <a:pt x="3578226" y="2935948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9">
            <a:extLst>
              <a:ext uri="{FF2B5EF4-FFF2-40B4-BE49-F238E27FC236}">
                <a16:creationId xmlns="" xmlns:a16="http://schemas.microsoft.com/office/drawing/2014/main" id="{A10F08BE-2F08-4A11-8214-BA43A8D48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>
            <a:extLst>
              <a:ext uri="{FF2B5EF4-FFF2-40B4-BE49-F238E27FC236}">
                <a16:creationId xmlns="" xmlns:a16="http://schemas.microsoft.com/office/drawing/2014/main" id="{F5641348-8167-4428-AD2D-8F6E106B0B30}"/>
              </a:ext>
            </a:extLst>
          </p:cNvPr>
          <p:cNvSpPr/>
          <p:nvPr userDrawn="1"/>
        </p:nvSpPr>
        <p:spPr>
          <a:xfrm flipV="1">
            <a:off x="-13164" y="2319045"/>
            <a:ext cx="8135971" cy="4565826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897324 w 3897324"/>
              <a:gd name="connsiteY0" fmla="*/ 1129574 h 2181421"/>
              <a:gd name="connsiteX1" fmla="*/ 1841225 w 3897324"/>
              <a:gd name="connsiteY1" fmla="*/ 0 h 2181421"/>
              <a:gd name="connsiteX2" fmla="*/ 6 w 3897324"/>
              <a:gd name="connsiteY2" fmla="*/ 724 h 2181421"/>
              <a:gd name="connsiteX3" fmla="*/ 241226 w 3897324"/>
              <a:gd name="connsiteY3" fmla="*/ 2181421 h 2181421"/>
              <a:gd name="connsiteX4" fmla="*/ 3897324 w 3897324"/>
              <a:gd name="connsiteY4" fmla="*/ 1129574 h 2181421"/>
              <a:gd name="connsiteX0" fmla="*/ 4665782 w 4665782"/>
              <a:gd name="connsiteY0" fmla="*/ 1143912 h 2195759"/>
              <a:gd name="connsiteX1" fmla="*/ 2609683 w 4665782"/>
              <a:gd name="connsiteY1" fmla="*/ 14338 h 2195759"/>
              <a:gd name="connsiteX2" fmla="*/ 1 w 4665782"/>
              <a:gd name="connsiteY2" fmla="*/ 0 h 2195759"/>
              <a:gd name="connsiteX3" fmla="*/ 1009684 w 4665782"/>
              <a:gd name="connsiteY3" fmla="*/ 2195759 h 2195759"/>
              <a:gd name="connsiteX4" fmla="*/ 4665782 w 4665782"/>
              <a:gd name="connsiteY4" fmla="*/ 1143912 h 2195759"/>
              <a:gd name="connsiteX0" fmla="*/ 4665781 w 4665781"/>
              <a:gd name="connsiteY0" fmla="*/ 1143912 h 2195759"/>
              <a:gd name="connsiteX1" fmla="*/ 2609682 w 4665781"/>
              <a:gd name="connsiteY1" fmla="*/ 14338 h 2195759"/>
              <a:gd name="connsiteX2" fmla="*/ 0 w 4665781"/>
              <a:gd name="connsiteY2" fmla="*/ 0 h 2195759"/>
              <a:gd name="connsiteX3" fmla="*/ 1009683 w 4665781"/>
              <a:gd name="connsiteY3" fmla="*/ 2195759 h 2195759"/>
              <a:gd name="connsiteX4" fmla="*/ 4665781 w 4665781"/>
              <a:gd name="connsiteY4" fmla="*/ 1143912 h 2195759"/>
              <a:gd name="connsiteX0" fmla="*/ 4668349 w 4668349"/>
              <a:gd name="connsiteY0" fmla="*/ 1143912 h 2481945"/>
              <a:gd name="connsiteX1" fmla="*/ 2612250 w 4668349"/>
              <a:gd name="connsiteY1" fmla="*/ 14338 h 2481945"/>
              <a:gd name="connsiteX2" fmla="*/ 2568 w 4668349"/>
              <a:gd name="connsiteY2" fmla="*/ 0 h 2481945"/>
              <a:gd name="connsiteX3" fmla="*/ 0 w 4668349"/>
              <a:gd name="connsiteY3" fmla="*/ 2481945 h 2481945"/>
              <a:gd name="connsiteX4" fmla="*/ 4668349 w 4668349"/>
              <a:gd name="connsiteY4" fmla="*/ 1143912 h 248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8349" h="2481945">
                <a:moveTo>
                  <a:pt x="4668349" y="1143912"/>
                </a:moveTo>
                <a:cubicBezTo>
                  <a:pt x="3662390" y="458754"/>
                  <a:pt x="3222216" y="311659"/>
                  <a:pt x="2612250" y="14338"/>
                </a:cubicBezTo>
                <a:lnTo>
                  <a:pt x="2568" y="0"/>
                </a:lnTo>
                <a:lnTo>
                  <a:pt x="0" y="2481945"/>
                </a:lnTo>
                <a:lnTo>
                  <a:pt x="4668349" y="1143912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0">
            <a:extLst>
              <a:ext uri="{FF2B5EF4-FFF2-40B4-BE49-F238E27FC236}">
                <a16:creationId xmlns="" xmlns:a16="http://schemas.microsoft.com/office/drawing/2014/main" id="{FEA7B5B4-06A7-4B2E-A937-95E21EA12637}"/>
              </a:ext>
            </a:extLst>
          </p:cNvPr>
          <p:cNvSpPr/>
          <p:nvPr userDrawn="1"/>
        </p:nvSpPr>
        <p:spPr>
          <a:xfrm flipV="1">
            <a:off x="-15210" y="1836"/>
            <a:ext cx="8673062" cy="5017918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1010597 w 5058035"/>
              <a:gd name="connsiteY2" fmla="*/ 566154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5058035"/>
              <a:gd name="connsiteY0" fmla="*/ 2935948 h 2936232"/>
              <a:gd name="connsiteX1" fmla="*/ 0 w 5058035"/>
              <a:gd name="connsiteY1" fmla="*/ 2936232 h 2936232"/>
              <a:gd name="connsiteX2" fmla="*/ 8945 w 5058035"/>
              <a:gd name="connsiteY2" fmla="*/ 709247 h 2936232"/>
              <a:gd name="connsiteX3" fmla="*/ 1297627 w 5058035"/>
              <a:gd name="connsiteY3" fmla="*/ 976370 h 2936232"/>
              <a:gd name="connsiteX4" fmla="*/ 4531645 w 5058035"/>
              <a:gd name="connsiteY4" fmla="*/ 97407 h 2936232"/>
              <a:gd name="connsiteX5" fmla="*/ 4583339 w 5058035"/>
              <a:gd name="connsiteY5" fmla="*/ 2935948 h 2936232"/>
              <a:gd name="connsiteX0" fmla="*/ 4583339 w 4980466"/>
              <a:gd name="connsiteY0" fmla="*/ 2881593 h 2881877"/>
              <a:gd name="connsiteX1" fmla="*/ 0 w 4980466"/>
              <a:gd name="connsiteY1" fmla="*/ 2881877 h 2881877"/>
              <a:gd name="connsiteX2" fmla="*/ 8945 w 4980466"/>
              <a:gd name="connsiteY2" fmla="*/ 654892 h 2881877"/>
              <a:gd name="connsiteX3" fmla="*/ 285375 w 4980466"/>
              <a:gd name="connsiteY3" fmla="*/ 996212 h 2881877"/>
              <a:gd name="connsiteX4" fmla="*/ 4531645 w 4980466"/>
              <a:gd name="connsiteY4" fmla="*/ 43052 h 2881877"/>
              <a:gd name="connsiteX5" fmla="*/ 4583339 w 4980466"/>
              <a:gd name="connsiteY5" fmla="*/ 2881593 h 288187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8945 w 4976528"/>
              <a:gd name="connsiteY2" fmla="*/ 652252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  <a:gd name="connsiteX0" fmla="*/ 4583339 w 4976528"/>
              <a:gd name="connsiteY0" fmla="*/ 2878953 h 2879237"/>
              <a:gd name="connsiteX1" fmla="*/ 0 w 4976528"/>
              <a:gd name="connsiteY1" fmla="*/ 2879237 h 2879237"/>
              <a:gd name="connsiteX2" fmla="*/ 2623 w 4976528"/>
              <a:gd name="connsiteY2" fmla="*/ 629073 h 2879237"/>
              <a:gd name="connsiteX3" fmla="*/ 343672 w 4976528"/>
              <a:gd name="connsiteY3" fmla="*/ 1035970 h 2879237"/>
              <a:gd name="connsiteX4" fmla="*/ 4531645 w 4976528"/>
              <a:gd name="connsiteY4" fmla="*/ 40412 h 2879237"/>
              <a:gd name="connsiteX5" fmla="*/ 4583339 w 4976528"/>
              <a:gd name="connsiteY5" fmla="*/ 2878953 h 287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6528" h="2879237">
                <a:moveTo>
                  <a:pt x="4583339" y="2878953"/>
                </a:moveTo>
                <a:lnTo>
                  <a:pt x="0" y="2879237"/>
                </a:lnTo>
                <a:cubicBezTo>
                  <a:pt x="2982" y="2136909"/>
                  <a:pt x="-359" y="1371401"/>
                  <a:pt x="2623" y="629073"/>
                </a:cubicBezTo>
                <a:lnTo>
                  <a:pt x="343672" y="1035970"/>
                </a:lnTo>
                <a:cubicBezTo>
                  <a:pt x="1232960" y="1285954"/>
                  <a:pt x="3825034" y="-266752"/>
                  <a:pt x="4531645" y="40412"/>
                </a:cubicBezTo>
                <a:cubicBezTo>
                  <a:pt x="5238256" y="347576"/>
                  <a:pt x="4985208" y="2290239"/>
                  <a:pt x="4583339" y="2878953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8644" y="16173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88" y="5490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EDB08EB4-CC11-42CA-9B89-A01B1DD72FD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62625" y="6097104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32">
            <a:extLst>
              <a:ext uri="{FF2B5EF4-FFF2-40B4-BE49-F238E27FC236}">
                <a16:creationId xmlns="" xmlns:a16="http://schemas.microsoft.com/office/drawing/2014/main" id="{A6B6DA77-CB9F-419C-8A7C-D5CFE34CC31B}"/>
              </a:ext>
            </a:extLst>
          </p:cNvPr>
          <p:cNvSpPr/>
          <p:nvPr userDrawn="1"/>
        </p:nvSpPr>
        <p:spPr>
          <a:xfrm rot="10800000" flipV="1">
            <a:off x="4572796" y="1836"/>
            <a:ext cx="7629922" cy="4773080"/>
          </a:xfrm>
          <a:custGeom>
            <a:avLst/>
            <a:gdLst>
              <a:gd name="connsiteX0" fmla="*/ 3573556 w 3573556"/>
              <a:gd name="connsiteY0" fmla="*/ 1801906 h 2844053"/>
              <a:gd name="connsiteX1" fmla="*/ 0 w 3573556"/>
              <a:gd name="connsiteY1" fmla="*/ 0 h 2844053"/>
              <a:gd name="connsiteX2" fmla="*/ 6724 w 3573556"/>
              <a:gd name="connsiteY2" fmla="*/ 2844053 h 2844053"/>
              <a:gd name="connsiteX3" fmla="*/ 3573556 w 3573556"/>
              <a:gd name="connsiteY3" fmla="*/ 1801906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25470 h 2844053"/>
              <a:gd name="connsiteX1" fmla="*/ 0 w 3603812"/>
              <a:gd name="connsiteY1" fmla="*/ 0 h 2844053"/>
              <a:gd name="connsiteX2" fmla="*/ 6724 w 3603812"/>
              <a:gd name="connsiteY2" fmla="*/ 2844053 h 2844053"/>
              <a:gd name="connsiteX3" fmla="*/ 3603812 w 3603812"/>
              <a:gd name="connsiteY3" fmla="*/ 1725470 h 284405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03812 w 3603812"/>
              <a:gd name="connsiteY0" fmla="*/ 1719100 h 2837683"/>
              <a:gd name="connsiteX1" fmla="*/ 0 w 3603812"/>
              <a:gd name="connsiteY1" fmla="*/ 0 h 2837683"/>
              <a:gd name="connsiteX2" fmla="*/ 6724 w 3603812"/>
              <a:gd name="connsiteY2" fmla="*/ 2837683 h 2837683"/>
              <a:gd name="connsiteX3" fmla="*/ 3603812 w 3603812"/>
              <a:gd name="connsiteY3" fmla="*/ 1719100 h 2837683"/>
              <a:gd name="connsiteX0" fmla="*/ 3659796 w 3659796"/>
              <a:gd name="connsiteY0" fmla="*/ 1783924 h 2837683"/>
              <a:gd name="connsiteX1" fmla="*/ 0 w 3659796"/>
              <a:gd name="connsiteY1" fmla="*/ 0 h 2837683"/>
              <a:gd name="connsiteX2" fmla="*/ 6724 w 3659796"/>
              <a:gd name="connsiteY2" fmla="*/ 2837683 h 2837683"/>
              <a:gd name="connsiteX3" fmla="*/ 3659796 w 3659796"/>
              <a:gd name="connsiteY3" fmla="*/ 1783924 h 2837683"/>
              <a:gd name="connsiteX0" fmla="*/ 3659796 w 3659796"/>
              <a:gd name="connsiteY0" fmla="*/ 1783924 h 2835771"/>
              <a:gd name="connsiteX1" fmla="*/ 0 w 3659796"/>
              <a:gd name="connsiteY1" fmla="*/ 0 h 2835771"/>
              <a:gd name="connsiteX2" fmla="*/ 3698 w 3659796"/>
              <a:gd name="connsiteY2" fmla="*/ 2835771 h 2835771"/>
              <a:gd name="connsiteX3" fmla="*/ 3659796 w 3659796"/>
              <a:gd name="connsiteY3" fmla="*/ 1783924 h 2835771"/>
              <a:gd name="connsiteX0" fmla="*/ 3659796 w 3687181"/>
              <a:gd name="connsiteY0" fmla="*/ 1886116 h 2937963"/>
              <a:gd name="connsiteX1" fmla="*/ 1590719 w 3687181"/>
              <a:gd name="connsiteY1" fmla="*/ 744248 h 2937963"/>
              <a:gd name="connsiteX2" fmla="*/ 0 w 3687181"/>
              <a:gd name="connsiteY2" fmla="*/ 102192 h 2937963"/>
              <a:gd name="connsiteX3" fmla="*/ 3698 w 3687181"/>
              <a:gd name="connsiteY3" fmla="*/ 2937963 h 2937963"/>
              <a:gd name="connsiteX4" fmla="*/ 3659796 w 3687181"/>
              <a:gd name="connsiteY4" fmla="*/ 1886116 h 2937963"/>
              <a:gd name="connsiteX0" fmla="*/ 3656139 w 3683524"/>
              <a:gd name="connsiteY0" fmla="*/ 1301371 h 2353218"/>
              <a:gd name="connsiteX1" fmla="*/ 1587062 w 3683524"/>
              <a:gd name="connsiteY1" fmla="*/ 159503 h 2353218"/>
              <a:gd name="connsiteX2" fmla="*/ 86287 w 3683524"/>
              <a:gd name="connsiteY2" fmla="*/ 373101 h 2353218"/>
              <a:gd name="connsiteX3" fmla="*/ 41 w 3683524"/>
              <a:gd name="connsiteY3" fmla="*/ 2353218 h 2353218"/>
              <a:gd name="connsiteX4" fmla="*/ 3656139 w 3683524"/>
              <a:gd name="connsiteY4" fmla="*/ 1301371 h 2353218"/>
              <a:gd name="connsiteX0" fmla="*/ 3656739 w 3684124"/>
              <a:gd name="connsiteY0" fmla="*/ 1383295 h 2435142"/>
              <a:gd name="connsiteX1" fmla="*/ 1587662 w 3684124"/>
              <a:gd name="connsiteY1" fmla="*/ 241427 h 2435142"/>
              <a:gd name="connsiteX2" fmla="*/ 690 w 3684124"/>
              <a:gd name="connsiteY2" fmla="*/ 256201 h 2435142"/>
              <a:gd name="connsiteX3" fmla="*/ 641 w 3684124"/>
              <a:gd name="connsiteY3" fmla="*/ 2435142 h 2435142"/>
              <a:gd name="connsiteX4" fmla="*/ 3656739 w 3684124"/>
              <a:gd name="connsiteY4" fmla="*/ 1383295 h 2435142"/>
              <a:gd name="connsiteX0" fmla="*/ 3656739 w 3684124"/>
              <a:gd name="connsiteY0" fmla="*/ 1269523 h 2321370"/>
              <a:gd name="connsiteX1" fmla="*/ 1587662 w 3684124"/>
              <a:gd name="connsiteY1" fmla="*/ 127655 h 2321370"/>
              <a:gd name="connsiteX2" fmla="*/ 690 w 3684124"/>
              <a:gd name="connsiteY2" fmla="*/ 142429 h 2321370"/>
              <a:gd name="connsiteX3" fmla="*/ 641 w 3684124"/>
              <a:gd name="connsiteY3" fmla="*/ 2321370 h 2321370"/>
              <a:gd name="connsiteX4" fmla="*/ 3656739 w 3684124"/>
              <a:gd name="connsiteY4" fmla="*/ 1269523 h 2321370"/>
              <a:gd name="connsiteX0" fmla="*/ 3656739 w 3684124"/>
              <a:gd name="connsiteY0" fmla="*/ 1141868 h 2193715"/>
              <a:gd name="connsiteX1" fmla="*/ 1587662 w 3684124"/>
              <a:gd name="connsiteY1" fmla="*/ 0 h 2193715"/>
              <a:gd name="connsiteX2" fmla="*/ 690 w 3684124"/>
              <a:gd name="connsiteY2" fmla="*/ 14774 h 2193715"/>
              <a:gd name="connsiteX3" fmla="*/ 641 w 3684124"/>
              <a:gd name="connsiteY3" fmla="*/ 2193715 h 2193715"/>
              <a:gd name="connsiteX4" fmla="*/ 3656739 w 3684124"/>
              <a:gd name="connsiteY4" fmla="*/ 1141868 h 2193715"/>
              <a:gd name="connsiteX0" fmla="*/ 3656739 w 3656739"/>
              <a:gd name="connsiteY0" fmla="*/ 1141868 h 2193715"/>
              <a:gd name="connsiteX1" fmla="*/ 1587662 w 3656739"/>
              <a:gd name="connsiteY1" fmla="*/ 0 h 2193715"/>
              <a:gd name="connsiteX2" fmla="*/ 690 w 3656739"/>
              <a:gd name="connsiteY2" fmla="*/ 14774 h 2193715"/>
              <a:gd name="connsiteX3" fmla="*/ 641 w 3656739"/>
              <a:gd name="connsiteY3" fmla="*/ 2193715 h 2193715"/>
              <a:gd name="connsiteX4" fmla="*/ 3656739 w 3656739"/>
              <a:gd name="connsiteY4" fmla="*/ 1141868 h 2193715"/>
              <a:gd name="connsiteX0" fmla="*/ 3656739 w 3656739"/>
              <a:gd name="connsiteY0" fmla="*/ 1127094 h 2178941"/>
              <a:gd name="connsiteX1" fmla="*/ 1600640 w 3656739"/>
              <a:gd name="connsiteY1" fmla="*/ 155 h 2178941"/>
              <a:gd name="connsiteX2" fmla="*/ 690 w 3656739"/>
              <a:gd name="connsiteY2" fmla="*/ 0 h 2178941"/>
              <a:gd name="connsiteX3" fmla="*/ 641 w 3656739"/>
              <a:gd name="connsiteY3" fmla="*/ 2178941 h 2178941"/>
              <a:gd name="connsiteX4" fmla="*/ 3656739 w 3656739"/>
              <a:gd name="connsiteY4" fmla="*/ 1127094 h 2178941"/>
              <a:gd name="connsiteX0" fmla="*/ 3656739 w 3656739"/>
              <a:gd name="connsiteY0" fmla="*/ 1129574 h 2181421"/>
              <a:gd name="connsiteX1" fmla="*/ 1600640 w 3656739"/>
              <a:gd name="connsiteY1" fmla="*/ 0 h 2181421"/>
              <a:gd name="connsiteX2" fmla="*/ 690 w 3656739"/>
              <a:gd name="connsiteY2" fmla="*/ 2480 h 2181421"/>
              <a:gd name="connsiteX3" fmla="*/ 641 w 3656739"/>
              <a:gd name="connsiteY3" fmla="*/ 2181421 h 2181421"/>
              <a:gd name="connsiteX4" fmla="*/ 3656739 w 3656739"/>
              <a:gd name="connsiteY4" fmla="*/ 1129574 h 2181421"/>
              <a:gd name="connsiteX0" fmla="*/ 3656650 w 3656650"/>
              <a:gd name="connsiteY0" fmla="*/ 1129574 h 2181421"/>
              <a:gd name="connsiteX1" fmla="*/ 1600551 w 3656650"/>
              <a:gd name="connsiteY1" fmla="*/ 0 h 2181421"/>
              <a:gd name="connsiteX2" fmla="*/ 1528 w 3656650"/>
              <a:gd name="connsiteY2" fmla="*/ 2480 h 2181421"/>
              <a:gd name="connsiteX3" fmla="*/ 552 w 3656650"/>
              <a:gd name="connsiteY3" fmla="*/ 2181421 h 2181421"/>
              <a:gd name="connsiteX4" fmla="*/ 3656650 w 3656650"/>
              <a:gd name="connsiteY4" fmla="*/ 1129574 h 2181421"/>
              <a:gd name="connsiteX0" fmla="*/ 3657167 w 3657167"/>
              <a:gd name="connsiteY0" fmla="*/ 1129574 h 2181421"/>
              <a:gd name="connsiteX1" fmla="*/ 1601068 w 3657167"/>
              <a:gd name="connsiteY1" fmla="*/ 0 h 2181421"/>
              <a:gd name="connsiteX2" fmla="*/ 2045 w 3657167"/>
              <a:gd name="connsiteY2" fmla="*/ 2480 h 2181421"/>
              <a:gd name="connsiteX3" fmla="*/ 1069 w 3657167"/>
              <a:gd name="connsiteY3" fmla="*/ 2181421 h 2181421"/>
              <a:gd name="connsiteX4" fmla="*/ 3657167 w 3657167"/>
              <a:gd name="connsiteY4" fmla="*/ 1129574 h 2181421"/>
              <a:gd name="connsiteX0" fmla="*/ 3659337 w 3659337"/>
              <a:gd name="connsiteY0" fmla="*/ 1129574 h 2181421"/>
              <a:gd name="connsiteX1" fmla="*/ 1603238 w 3659337"/>
              <a:gd name="connsiteY1" fmla="*/ 0 h 2181421"/>
              <a:gd name="connsiteX2" fmla="*/ 507 w 3659337"/>
              <a:gd name="connsiteY2" fmla="*/ 724 h 2181421"/>
              <a:gd name="connsiteX3" fmla="*/ 3239 w 3659337"/>
              <a:gd name="connsiteY3" fmla="*/ 2181421 h 2181421"/>
              <a:gd name="connsiteX4" fmla="*/ 3659337 w 3659337"/>
              <a:gd name="connsiteY4" fmla="*/ 1129574 h 2181421"/>
              <a:gd name="connsiteX0" fmla="*/ 3658966 w 3658966"/>
              <a:gd name="connsiteY0" fmla="*/ 1129574 h 2164463"/>
              <a:gd name="connsiteX1" fmla="*/ 1602867 w 3658966"/>
              <a:gd name="connsiteY1" fmla="*/ 0 h 2164463"/>
              <a:gd name="connsiteX2" fmla="*/ 136 w 3658966"/>
              <a:gd name="connsiteY2" fmla="*/ 724 h 2164463"/>
              <a:gd name="connsiteX3" fmla="*/ 11818 w 3658966"/>
              <a:gd name="connsiteY3" fmla="*/ 2164463 h 2164463"/>
              <a:gd name="connsiteX4" fmla="*/ 3658966 w 3658966"/>
              <a:gd name="connsiteY4" fmla="*/ 1129574 h 2164463"/>
              <a:gd name="connsiteX0" fmla="*/ 3659337 w 3659337"/>
              <a:gd name="connsiteY0" fmla="*/ 1129574 h 2168702"/>
              <a:gd name="connsiteX1" fmla="*/ 1603238 w 3659337"/>
              <a:gd name="connsiteY1" fmla="*/ 0 h 2168702"/>
              <a:gd name="connsiteX2" fmla="*/ 507 w 3659337"/>
              <a:gd name="connsiteY2" fmla="*/ 724 h 2168702"/>
              <a:gd name="connsiteX3" fmla="*/ 3239 w 3659337"/>
              <a:gd name="connsiteY3" fmla="*/ 2168702 h 2168702"/>
              <a:gd name="connsiteX4" fmla="*/ 3659337 w 3659337"/>
              <a:gd name="connsiteY4" fmla="*/ 1129574 h 216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9337" h="2168702">
                <a:moveTo>
                  <a:pt x="3659337" y="1129574"/>
                </a:moveTo>
                <a:cubicBezTo>
                  <a:pt x="2653378" y="444416"/>
                  <a:pt x="2213204" y="297321"/>
                  <a:pt x="1603238" y="0"/>
                </a:cubicBezTo>
                <a:lnTo>
                  <a:pt x="507" y="724"/>
                </a:lnTo>
                <a:cubicBezTo>
                  <a:pt x="-960" y="399868"/>
                  <a:pt x="998" y="1220684"/>
                  <a:pt x="3239" y="2168702"/>
                </a:cubicBezTo>
                <a:lnTo>
                  <a:pt x="3659337" y="1129574"/>
                </a:lnTo>
                <a:close/>
              </a:path>
            </a:pathLst>
          </a:custGeom>
          <a:solidFill>
            <a:srgbClr val="2B0A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8">
            <a:extLst>
              <a:ext uri="{FF2B5EF4-FFF2-40B4-BE49-F238E27FC236}">
                <a16:creationId xmlns="" xmlns:a16="http://schemas.microsoft.com/office/drawing/2014/main" id="{DF7DC13D-E42C-4CFB-92DC-556753806D50}"/>
              </a:ext>
            </a:extLst>
          </p:cNvPr>
          <p:cNvSpPr/>
          <p:nvPr userDrawn="1"/>
        </p:nvSpPr>
        <p:spPr>
          <a:xfrm rot="10800000" flipV="1">
            <a:off x="3840954" y="2212271"/>
            <a:ext cx="8376394" cy="4691140"/>
          </a:xfrm>
          <a:custGeom>
            <a:avLst/>
            <a:gdLst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14793 w 3560164"/>
              <a:gd name="connsiteY3" fmla="*/ 929390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378666 w 3560164"/>
              <a:gd name="connsiteY3" fmla="*/ 1531146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2885606 h 2885606"/>
              <a:gd name="connsiteX1" fmla="*/ 0 w 3560164"/>
              <a:gd name="connsiteY1" fmla="*/ 2848131 h 2885606"/>
              <a:gd name="connsiteX2" fmla="*/ 14990 w 3560164"/>
              <a:gd name="connsiteY2" fmla="*/ 517160 h 2885606"/>
              <a:gd name="connsiteX3" fmla="*/ 297984 w 3560164"/>
              <a:gd name="connsiteY3" fmla="*/ 919304 h 2885606"/>
              <a:gd name="connsiteX4" fmla="*/ 3515193 w 3560164"/>
              <a:gd name="connsiteY4" fmla="*/ 0 h 2885606"/>
              <a:gd name="connsiteX5" fmla="*/ 3560164 w 3560164"/>
              <a:gd name="connsiteY5" fmla="*/ 2885606 h 2885606"/>
              <a:gd name="connsiteX0" fmla="*/ 3560164 w 3560164"/>
              <a:gd name="connsiteY0" fmla="*/ 3168208 h 3168208"/>
              <a:gd name="connsiteX1" fmla="*/ 0 w 3560164"/>
              <a:gd name="connsiteY1" fmla="*/ 3130733 h 3168208"/>
              <a:gd name="connsiteX2" fmla="*/ 14990 w 3560164"/>
              <a:gd name="connsiteY2" fmla="*/ 799762 h 3168208"/>
              <a:gd name="connsiteX3" fmla="*/ 297984 w 3560164"/>
              <a:gd name="connsiteY3" fmla="*/ 1201906 h 3168208"/>
              <a:gd name="connsiteX4" fmla="*/ 3515193 w 3560164"/>
              <a:gd name="connsiteY4" fmla="*/ 282602 h 3168208"/>
              <a:gd name="connsiteX5" fmla="*/ 3560164 w 3560164"/>
              <a:gd name="connsiteY5" fmla="*/ 3168208 h 3168208"/>
              <a:gd name="connsiteX0" fmla="*/ 3560164 w 3995016"/>
              <a:gd name="connsiteY0" fmla="*/ 3066756 h 3066756"/>
              <a:gd name="connsiteX1" fmla="*/ 0 w 3995016"/>
              <a:gd name="connsiteY1" fmla="*/ 3029281 h 3066756"/>
              <a:gd name="connsiteX2" fmla="*/ 14990 w 3995016"/>
              <a:gd name="connsiteY2" fmla="*/ 698310 h 3066756"/>
              <a:gd name="connsiteX3" fmla="*/ 297984 w 3995016"/>
              <a:gd name="connsiteY3" fmla="*/ 1100454 h 3066756"/>
              <a:gd name="connsiteX4" fmla="*/ 3515193 w 3995016"/>
              <a:gd name="connsiteY4" fmla="*/ 181150 h 3066756"/>
              <a:gd name="connsiteX5" fmla="*/ 3560164 w 3995016"/>
              <a:gd name="connsiteY5" fmla="*/ 3066756 h 3066756"/>
              <a:gd name="connsiteX0" fmla="*/ 3560164 w 4081667"/>
              <a:gd name="connsiteY0" fmla="*/ 3066756 h 3066756"/>
              <a:gd name="connsiteX1" fmla="*/ 0 w 4081667"/>
              <a:gd name="connsiteY1" fmla="*/ 3029281 h 3066756"/>
              <a:gd name="connsiteX2" fmla="*/ 14990 w 4081667"/>
              <a:gd name="connsiteY2" fmla="*/ 698310 h 3066756"/>
              <a:gd name="connsiteX3" fmla="*/ 297984 w 4081667"/>
              <a:gd name="connsiteY3" fmla="*/ 1100454 h 3066756"/>
              <a:gd name="connsiteX4" fmla="*/ 3515193 w 4081667"/>
              <a:gd name="connsiteY4" fmla="*/ 181150 h 3066756"/>
              <a:gd name="connsiteX5" fmla="*/ 3560164 w 4081667"/>
              <a:gd name="connsiteY5" fmla="*/ 3066756 h 3066756"/>
              <a:gd name="connsiteX0" fmla="*/ 3560164 w 3972124"/>
              <a:gd name="connsiteY0" fmla="*/ 2986772 h 2986772"/>
              <a:gd name="connsiteX1" fmla="*/ 0 w 3972124"/>
              <a:gd name="connsiteY1" fmla="*/ 2949297 h 2986772"/>
              <a:gd name="connsiteX2" fmla="*/ 14990 w 3972124"/>
              <a:gd name="connsiteY2" fmla="*/ 618326 h 2986772"/>
              <a:gd name="connsiteX3" fmla="*/ 297984 w 3972124"/>
              <a:gd name="connsiteY3" fmla="*/ 1020470 h 2986772"/>
              <a:gd name="connsiteX4" fmla="*/ 3515193 w 3972124"/>
              <a:gd name="connsiteY4" fmla="*/ 101166 h 2986772"/>
              <a:gd name="connsiteX5" fmla="*/ 3560164 w 3972124"/>
              <a:gd name="connsiteY5" fmla="*/ 2986772 h 2986772"/>
              <a:gd name="connsiteX0" fmla="*/ 3560164 w 3851466"/>
              <a:gd name="connsiteY0" fmla="*/ 2932294 h 2932294"/>
              <a:gd name="connsiteX1" fmla="*/ 0 w 3851466"/>
              <a:gd name="connsiteY1" fmla="*/ 2894819 h 2932294"/>
              <a:gd name="connsiteX2" fmla="*/ 14990 w 3851466"/>
              <a:gd name="connsiteY2" fmla="*/ 563848 h 2932294"/>
              <a:gd name="connsiteX3" fmla="*/ 297984 w 3851466"/>
              <a:gd name="connsiteY3" fmla="*/ 965992 h 2932294"/>
              <a:gd name="connsiteX4" fmla="*/ 3515193 w 3851466"/>
              <a:gd name="connsiteY4" fmla="*/ 46688 h 2932294"/>
              <a:gd name="connsiteX5" fmla="*/ 3560164 w 3851466"/>
              <a:gd name="connsiteY5" fmla="*/ 2932294 h 2932294"/>
              <a:gd name="connsiteX0" fmla="*/ 3560164 w 3851466"/>
              <a:gd name="connsiteY0" fmla="*/ 2923744 h 2923744"/>
              <a:gd name="connsiteX1" fmla="*/ 0 w 3851466"/>
              <a:gd name="connsiteY1" fmla="*/ 2886269 h 2923744"/>
              <a:gd name="connsiteX2" fmla="*/ 14990 w 3851466"/>
              <a:gd name="connsiteY2" fmla="*/ 555298 h 2923744"/>
              <a:gd name="connsiteX3" fmla="*/ 297984 w 3851466"/>
              <a:gd name="connsiteY3" fmla="*/ 957442 h 2923744"/>
              <a:gd name="connsiteX4" fmla="*/ 3515193 w 3851466"/>
              <a:gd name="connsiteY4" fmla="*/ 38138 h 2923744"/>
              <a:gd name="connsiteX5" fmla="*/ 3560164 w 3851466"/>
              <a:gd name="connsiteY5" fmla="*/ 2923744 h 2923744"/>
              <a:gd name="connsiteX0" fmla="*/ 3560164 w 3868339"/>
              <a:gd name="connsiteY0" fmla="*/ 2887665 h 2887665"/>
              <a:gd name="connsiteX1" fmla="*/ 0 w 3868339"/>
              <a:gd name="connsiteY1" fmla="*/ 2850190 h 2887665"/>
              <a:gd name="connsiteX2" fmla="*/ 14990 w 3868339"/>
              <a:gd name="connsiteY2" fmla="*/ 519219 h 2887665"/>
              <a:gd name="connsiteX3" fmla="*/ 297984 w 3868339"/>
              <a:gd name="connsiteY3" fmla="*/ 921363 h 2887665"/>
              <a:gd name="connsiteX4" fmla="*/ 3545449 w 3868339"/>
              <a:gd name="connsiteY4" fmla="*/ 39038 h 2887665"/>
              <a:gd name="connsiteX5" fmla="*/ 3560164 w 3868339"/>
              <a:gd name="connsiteY5" fmla="*/ 2887665 h 2887665"/>
              <a:gd name="connsiteX0" fmla="*/ 3560164 w 4050446"/>
              <a:gd name="connsiteY0" fmla="*/ 2944210 h 2944210"/>
              <a:gd name="connsiteX1" fmla="*/ 0 w 4050446"/>
              <a:gd name="connsiteY1" fmla="*/ 2906735 h 2944210"/>
              <a:gd name="connsiteX2" fmla="*/ 14990 w 4050446"/>
              <a:gd name="connsiteY2" fmla="*/ 575764 h 2944210"/>
              <a:gd name="connsiteX3" fmla="*/ 297984 w 4050446"/>
              <a:gd name="connsiteY3" fmla="*/ 977908 h 2944210"/>
              <a:gd name="connsiteX4" fmla="*/ 3545449 w 4050446"/>
              <a:gd name="connsiteY4" fmla="*/ 95583 h 2944210"/>
              <a:gd name="connsiteX5" fmla="*/ 3560164 w 4050446"/>
              <a:gd name="connsiteY5" fmla="*/ 2944210 h 2944210"/>
              <a:gd name="connsiteX0" fmla="*/ 3560164 w 3989640"/>
              <a:gd name="connsiteY0" fmla="*/ 2924406 h 2924406"/>
              <a:gd name="connsiteX1" fmla="*/ 0 w 3989640"/>
              <a:gd name="connsiteY1" fmla="*/ 2886931 h 2924406"/>
              <a:gd name="connsiteX2" fmla="*/ 14990 w 3989640"/>
              <a:gd name="connsiteY2" fmla="*/ 555960 h 2924406"/>
              <a:gd name="connsiteX3" fmla="*/ 297984 w 3989640"/>
              <a:gd name="connsiteY3" fmla="*/ 958104 h 2924406"/>
              <a:gd name="connsiteX4" fmla="*/ 3545449 w 3989640"/>
              <a:gd name="connsiteY4" fmla="*/ 75779 h 2924406"/>
              <a:gd name="connsiteX5" fmla="*/ 3560164 w 3989640"/>
              <a:gd name="connsiteY5" fmla="*/ 2924406 h 2924406"/>
              <a:gd name="connsiteX0" fmla="*/ 3560164 w 4014175"/>
              <a:gd name="connsiteY0" fmla="*/ 2948316 h 2948316"/>
              <a:gd name="connsiteX1" fmla="*/ 0 w 4014175"/>
              <a:gd name="connsiteY1" fmla="*/ 2910841 h 2948316"/>
              <a:gd name="connsiteX2" fmla="*/ 14990 w 4014175"/>
              <a:gd name="connsiteY2" fmla="*/ 579870 h 2948316"/>
              <a:gd name="connsiteX3" fmla="*/ 297984 w 4014175"/>
              <a:gd name="connsiteY3" fmla="*/ 982014 h 2948316"/>
              <a:gd name="connsiteX4" fmla="*/ 3545449 w 4014175"/>
              <a:gd name="connsiteY4" fmla="*/ 99689 h 2948316"/>
              <a:gd name="connsiteX5" fmla="*/ 3560164 w 4014175"/>
              <a:gd name="connsiteY5" fmla="*/ 2948316 h 2948316"/>
              <a:gd name="connsiteX0" fmla="*/ 3560164 w 4014175"/>
              <a:gd name="connsiteY0" fmla="*/ 2946856 h 2946856"/>
              <a:gd name="connsiteX1" fmla="*/ 0 w 4014175"/>
              <a:gd name="connsiteY1" fmla="*/ 2909381 h 2946856"/>
              <a:gd name="connsiteX2" fmla="*/ 14990 w 4014175"/>
              <a:gd name="connsiteY2" fmla="*/ 578410 h 2946856"/>
              <a:gd name="connsiteX3" fmla="*/ 297984 w 4014175"/>
              <a:gd name="connsiteY3" fmla="*/ 980554 h 2946856"/>
              <a:gd name="connsiteX4" fmla="*/ 3545449 w 4014175"/>
              <a:gd name="connsiteY4" fmla="*/ 98229 h 2946856"/>
              <a:gd name="connsiteX5" fmla="*/ 3560164 w 4014175"/>
              <a:gd name="connsiteY5" fmla="*/ 2946856 h 2946856"/>
              <a:gd name="connsiteX0" fmla="*/ 3583696 w 3892754"/>
              <a:gd name="connsiteY0" fmla="*/ 2889822 h 2889822"/>
              <a:gd name="connsiteX1" fmla="*/ 0 w 3892754"/>
              <a:gd name="connsiteY1" fmla="*/ 2859071 h 2889822"/>
              <a:gd name="connsiteX2" fmla="*/ 14990 w 3892754"/>
              <a:gd name="connsiteY2" fmla="*/ 528100 h 2889822"/>
              <a:gd name="connsiteX3" fmla="*/ 297984 w 3892754"/>
              <a:gd name="connsiteY3" fmla="*/ 930244 h 2889822"/>
              <a:gd name="connsiteX4" fmla="*/ 3545449 w 3892754"/>
              <a:gd name="connsiteY4" fmla="*/ 47919 h 2889822"/>
              <a:gd name="connsiteX5" fmla="*/ 3583696 w 3892754"/>
              <a:gd name="connsiteY5" fmla="*/ 2889822 h 2889822"/>
              <a:gd name="connsiteX0" fmla="*/ 3583696 w 4065589"/>
              <a:gd name="connsiteY0" fmla="*/ 2889822 h 2889822"/>
              <a:gd name="connsiteX1" fmla="*/ 0 w 4065589"/>
              <a:gd name="connsiteY1" fmla="*/ 2859071 h 2889822"/>
              <a:gd name="connsiteX2" fmla="*/ 14990 w 4065589"/>
              <a:gd name="connsiteY2" fmla="*/ 528100 h 2889822"/>
              <a:gd name="connsiteX3" fmla="*/ 297984 w 4065589"/>
              <a:gd name="connsiteY3" fmla="*/ 930244 h 2889822"/>
              <a:gd name="connsiteX4" fmla="*/ 3545449 w 4065589"/>
              <a:gd name="connsiteY4" fmla="*/ 47919 h 2889822"/>
              <a:gd name="connsiteX5" fmla="*/ 3583696 w 4065589"/>
              <a:gd name="connsiteY5" fmla="*/ 2889822 h 2889822"/>
              <a:gd name="connsiteX0" fmla="*/ 3583696 w 4193107"/>
              <a:gd name="connsiteY0" fmla="*/ 2939141 h 2939141"/>
              <a:gd name="connsiteX1" fmla="*/ 0 w 4193107"/>
              <a:gd name="connsiteY1" fmla="*/ 2908390 h 2939141"/>
              <a:gd name="connsiteX2" fmla="*/ 14990 w 4193107"/>
              <a:gd name="connsiteY2" fmla="*/ 577419 h 2939141"/>
              <a:gd name="connsiteX3" fmla="*/ 297984 w 4193107"/>
              <a:gd name="connsiteY3" fmla="*/ 979563 h 2939141"/>
              <a:gd name="connsiteX4" fmla="*/ 3545449 w 4193107"/>
              <a:gd name="connsiteY4" fmla="*/ 97238 h 2939141"/>
              <a:gd name="connsiteX5" fmla="*/ 3583696 w 4193107"/>
              <a:gd name="connsiteY5" fmla="*/ 2939141 h 2939141"/>
              <a:gd name="connsiteX0" fmla="*/ 3583696 w 4066579"/>
              <a:gd name="connsiteY0" fmla="*/ 2939141 h 2939141"/>
              <a:gd name="connsiteX1" fmla="*/ 0 w 4066579"/>
              <a:gd name="connsiteY1" fmla="*/ 2908390 h 2939141"/>
              <a:gd name="connsiteX2" fmla="*/ 14990 w 4066579"/>
              <a:gd name="connsiteY2" fmla="*/ 577419 h 2939141"/>
              <a:gd name="connsiteX3" fmla="*/ 297984 w 4066579"/>
              <a:gd name="connsiteY3" fmla="*/ 979563 h 2939141"/>
              <a:gd name="connsiteX4" fmla="*/ 3545449 w 4066579"/>
              <a:gd name="connsiteY4" fmla="*/ 97238 h 2939141"/>
              <a:gd name="connsiteX5" fmla="*/ 3583696 w 4066579"/>
              <a:gd name="connsiteY5" fmla="*/ 2939141 h 2939141"/>
              <a:gd name="connsiteX0" fmla="*/ 3583696 w 4058392"/>
              <a:gd name="connsiteY0" fmla="*/ 2935948 h 2935948"/>
              <a:gd name="connsiteX1" fmla="*/ 0 w 4058392"/>
              <a:gd name="connsiteY1" fmla="*/ 2905197 h 2935948"/>
              <a:gd name="connsiteX2" fmla="*/ 14990 w 4058392"/>
              <a:gd name="connsiteY2" fmla="*/ 574226 h 2935948"/>
              <a:gd name="connsiteX3" fmla="*/ 297984 w 4058392"/>
              <a:gd name="connsiteY3" fmla="*/ 976370 h 2935948"/>
              <a:gd name="connsiteX4" fmla="*/ 3532002 w 4058392"/>
              <a:gd name="connsiteY4" fmla="*/ 97407 h 2935948"/>
              <a:gd name="connsiteX5" fmla="*/ 3583696 w 405839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8226 w 4052922"/>
              <a:gd name="connsiteY0" fmla="*/ 2935948 h 2935948"/>
              <a:gd name="connsiteX1" fmla="*/ 0 w 4052922"/>
              <a:gd name="connsiteY1" fmla="*/ 2927075 h 2935948"/>
              <a:gd name="connsiteX2" fmla="*/ 9520 w 4052922"/>
              <a:gd name="connsiteY2" fmla="*/ 574226 h 2935948"/>
              <a:gd name="connsiteX3" fmla="*/ 292514 w 4052922"/>
              <a:gd name="connsiteY3" fmla="*/ 976370 h 2935948"/>
              <a:gd name="connsiteX4" fmla="*/ 3526532 w 4052922"/>
              <a:gd name="connsiteY4" fmla="*/ 97407 h 2935948"/>
              <a:gd name="connsiteX5" fmla="*/ 3578226 w 4052922"/>
              <a:gd name="connsiteY5" fmla="*/ 2935948 h 2935948"/>
              <a:gd name="connsiteX0" fmla="*/ 3571087 w 4045783"/>
              <a:gd name="connsiteY0" fmla="*/ 2935948 h 2935948"/>
              <a:gd name="connsiteX1" fmla="*/ 0 w 4045783"/>
              <a:gd name="connsiteY1" fmla="*/ 2934213 h 2935948"/>
              <a:gd name="connsiteX2" fmla="*/ 2381 w 4045783"/>
              <a:gd name="connsiteY2" fmla="*/ 574226 h 2935948"/>
              <a:gd name="connsiteX3" fmla="*/ 285375 w 4045783"/>
              <a:gd name="connsiteY3" fmla="*/ 976370 h 2935948"/>
              <a:gd name="connsiteX4" fmla="*/ 3519393 w 4045783"/>
              <a:gd name="connsiteY4" fmla="*/ 97407 h 2935948"/>
              <a:gd name="connsiteX5" fmla="*/ 3571087 w 4045783"/>
              <a:gd name="connsiteY5" fmla="*/ 2935948 h 2935948"/>
              <a:gd name="connsiteX0" fmla="*/ 3570078 w 4044774"/>
              <a:gd name="connsiteY0" fmla="*/ 2935948 h 2935948"/>
              <a:gd name="connsiteX1" fmla="*/ 2018 w 4044774"/>
              <a:gd name="connsiteY1" fmla="*/ 2931187 h 2935948"/>
              <a:gd name="connsiteX2" fmla="*/ 1372 w 4044774"/>
              <a:gd name="connsiteY2" fmla="*/ 574226 h 2935948"/>
              <a:gd name="connsiteX3" fmla="*/ 284366 w 4044774"/>
              <a:gd name="connsiteY3" fmla="*/ 976370 h 2935948"/>
              <a:gd name="connsiteX4" fmla="*/ 3518384 w 4044774"/>
              <a:gd name="connsiteY4" fmla="*/ 97407 h 2935948"/>
              <a:gd name="connsiteX5" fmla="*/ 3570078 w 4044774"/>
              <a:gd name="connsiteY5" fmla="*/ 2935948 h 2935948"/>
              <a:gd name="connsiteX0" fmla="*/ 3571087 w 4045783"/>
              <a:gd name="connsiteY0" fmla="*/ 2935948 h 2936232"/>
              <a:gd name="connsiteX1" fmla="*/ 0 w 4045783"/>
              <a:gd name="connsiteY1" fmla="*/ 2936232 h 2936232"/>
              <a:gd name="connsiteX2" fmla="*/ 2381 w 4045783"/>
              <a:gd name="connsiteY2" fmla="*/ 574226 h 2936232"/>
              <a:gd name="connsiteX3" fmla="*/ 285375 w 4045783"/>
              <a:gd name="connsiteY3" fmla="*/ 976370 h 2936232"/>
              <a:gd name="connsiteX4" fmla="*/ 3519393 w 4045783"/>
              <a:gd name="connsiteY4" fmla="*/ 97407 h 2936232"/>
              <a:gd name="connsiteX5" fmla="*/ 3571087 w 4045783"/>
              <a:gd name="connsiteY5" fmla="*/ 2935948 h 2936232"/>
              <a:gd name="connsiteX0" fmla="*/ 3571789 w 4046485"/>
              <a:gd name="connsiteY0" fmla="*/ 2935948 h 2936232"/>
              <a:gd name="connsiteX1" fmla="*/ 702 w 4046485"/>
              <a:gd name="connsiteY1" fmla="*/ 2936232 h 2936232"/>
              <a:gd name="connsiteX2" fmla="*/ 3083 w 4046485"/>
              <a:gd name="connsiteY2" fmla="*/ 574226 h 2936232"/>
              <a:gd name="connsiteX3" fmla="*/ 286077 w 4046485"/>
              <a:gd name="connsiteY3" fmla="*/ 976370 h 2936232"/>
              <a:gd name="connsiteX4" fmla="*/ 3520095 w 4046485"/>
              <a:gd name="connsiteY4" fmla="*/ 97407 h 2936232"/>
              <a:gd name="connsiteX5" fmla="*/ 3571789 w 4046485"/>
              <a:gd name="connsiteY5" fmla="*/ 2935948 h 2936232"/>
              <a:gd name="connsiteX0" fmla="*/ 3574610 w 4049306"/>
              <a:gd name="connsiteY0" fmla="*/ 2935948 h 2936232"/>
              <a:gd name="connsiteX1" fmla="*/ 3523 w 4049306"/>
              <a:gd name="connsiteY1" fmla="*/ 2936232 h 2936232"/>
              <a:gd name="connsiteX2" fmla="*/ 1868 w 4049306"/>
              <a:gd name="connsiteY2" fmla="*/ 566154 h 2936232"/>
              <a:gd name="connsiteX3" fmla="*/ 288898 w 4049306"/>
              <a:gd name="connsiteY3" fmla="*/ 976370 h 2936232"/>
              <a:gd name="connsiteX4" fmla="*/ 3522916 w 4049306"/>
              <a:gd name="connsiteY4" fmla="*/ 97407 h 2936232"/>
              <a:gd name="connsiteX5" fmla="*/ 3574610 w 4049306"/>
              <a:gd name="connsiteY5" fmla="*/ 2935948 h 2936232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120 w 4047816"/>
              <a:gd name="connsiteY0" fmla="*/ 2935948 h 2935948"/>
              <a:gd name="connsiteX1" fmla="*/ 41658 w 4047816"/>
              <a:gd name="connsiteY1" fmla="*/ 2137138 h 2935948"/>
              <a:gd name="connsiteX2" fmla="*/ 378 w 4047816"/>
              <a:gd name="connsiteY2" fmla="*/ 566154 h 2935948"/>
              <a:gd name="connsiteX3" fmla="*/ 287408 w 4047816"/>
              <a:gd name="connsiteY3" fmla="*/ 976370 h 2935948"/>
              <a:gd name="connsiteX4" fmla="*/ 3521426 w 4047816"/>
              <a:gd name="connsiteY4" fmla="*/ 97407 h 2935948"/>
              <a:gd name="connsiteX5" fmla="*/ 3573120 w 4047816"/>
              <a:gd name="connsiteY5" fmla="*/ 2935948 h 2935948"/>
              <a:gd name="connsiteX0" fmla="*/ 3573870 w 4048566"/>
              <a:gd name="connsiteY0" fmla="*/ 2935948 h 2935948"/>
              <a:gd name="connsiteX1" fmla="*/ 9388 w 4048566"/>
              <a:gd name="connsiteY1" fmla="*/ 2163554 h 2935948"/>
              <a:gd name="connsiteX2" fmla="*/ 1128 w 4048566"/>
              <a:gd name="connsiteY2" fmla="*/ 566154 h 2935948"/>
              <a:gd name="connsiteX3" fmla="*/ 288158 w 4048566"/>
              <a:gd name="connsiteY3" fmla="*/ 976370 h 2935948"/>
              <a:gd name="connsiteX4" fmla="*/ 3522176 w 4048566"/>
              <a:gd name="connsiteY4" fmla="*/ 97407 h 2935948"/>
              <a:gd name="connsiteX5" fmla="*/ 3573870 w 4048566"/>
              <a:gd name="connsiteY5" fmla="*/ 2935948 h 2935948"/>
              <a:gd name="connsiteX0" fmla="*/ 3857845 w 4085172"/>
              <a:gd name="connsiteY0" fmla="*/ 2270019 h 2270019"/>
              <a:gd name="connsiteX1" fmla="*/ 9388 w 4085172"/>
              <a:gd name="connsiteY1" fmla="*/ 2091993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4085172"/>
              <a:gd name="connsiteY0" fmla="*/ 2270019 h 2270019"/>
              <a:gd name="connsiteX1" fmla="*/ 9388 w 4085172"/>
              <a:gd name="connsiteY1" fmla="*/ 2257095 h 2270019"/>
              <a:gd name="connsiteX2" fmla="*/ 1128 w 4085172"/>
              <a:gd name="connsiteY2" fmla="*/ 494593 h 2270019"/>
              <a:gd name="connsiteX3" fmla="*/ 288158 w 4085172"/>
              <a:gd name="connsiteY3" fmla="*/ 904809 h 2270019"/>
              <a:gd name="connsiteX4" fmla="*/ 3522176 w 4085172"/>
              <a:gd name="connsiteY4" fmla="*/ 25846 h 2270019"/>
              <a:gd name="connsiteX5" fmla="*/ 3857845 w 4085172"/>
              <a:gd name="connsiteY5" fmla="*/ 2270019 h 2270019"/>
              <a:gd name="connsiteX0" fmla="*/ 3857845 w 3873294"/>
              <a:gd name="connsiteY0" fmla="*/ 2270019 h 2270019"/>
              <a:gd name="connsiteX1" fmla="*/ 9388 w 3873294"/>
              <a:gd name="connsiteY1" fmla="*/ 2257095 h 2270019"/>
              <a:gd name="connsiteX2" fmla="*/ 1128 w 3873294"/>
              <a:gd name="connsiteY2" fmla="*/ 494593 h 2270019"/>
              <a:gd name="connsiteX3" fmla="*/ 288158 w 3873294"/>
              <a:gd name="connsiteY3" fmla="*/ 904809 h 2270019"/>
              <a:gd name="connsiteX4" fmla="*/ 3522176 w 3873294"/>
              <a:gd name="connsiteY4" fmla="*/ 25846 h 2270019"/>
              <a:gd name="connsiteX5" fmla="*/ 3857845 w 3873294"/>
              <a:gd name="connsiteY5" fmla="*/ 2270019 h 2270019"/>
              <a:gd name="connsiteX0" fmla="*/ 3857845 w 4044807"/>
              <a:gd name="connsiteY0" fmla="*/ 2270019 h 2270019"/>
              <a:gd name="connsiteX1" fmla="*/ 9388 w 4044807"/>
              <a:gd name="connsiteY1" fmla="*/ 2257095 h 2270019"/>
              <a:gd name="connsiteX2" fmla="*/ 1128 w 4044807"/>
              <a:gd name="connsiteY2" fmla="*/ 494593 h 2270019"/>
              <a:gd name="connsiteX3" fmla="*/ 288158 w 4044807"/>
              <a:gd name="connsiteY3" fmla="*/ 904809 h 2270019"/>
              <a:gd name="connsiteX4" fmla="*/ 3522176 w 4044807"/>
              <a:gd name="connsiteY4" fmla="*/ 25846 h 2270019"/>
              <a:gd name="connsiteX5" fmla="*/ 3857845 w 4044807"/>
              <a:gd name="connsiteY5" fmla="*/ 2270019 h 2270019"/>
              <a:gd name="connsiteX0" fmla="*/ 3858259 w 4045221"/>
              <a:gd name="connsiteY0" fmla="*/ 2270019 h 2270019"/>
              <a:gd name="connsiteX1" fmla="*/ 5332 w 4045221"/>
              <a:gd name="connsiteY1" fmla="*/ 2257095 h 2270019"/>
              <a:gd name="connsiteX2" fmla="*/ 1542 w 4045221"/>
              <a:gd name="connsiteY2" fmla="*/ 494593 h 2270019"/>
              <a:gd name="connsiteX3" fmla="*/ 288572 w 4045221"/>
              <a:gd name="connsiteY3" fmla="*/ 904809 h 2270019"/>
              <a:gd name="connsiteX4" fmla="*/ 3522590 w 4045221"/>
              <a:gd name="connsiteY4" fmla="*/ 25846 h 2270019"/>
              <a:gd name="connsiteX5" fmla="*/ 3858259 w 4045221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  <a:gd name="connsiteX0" fmla="*/ 3866335 w 4053297"/>
              <a:gd name="connsiteY0" fmla="*/ 2270019 h 2270019"/>
              <a:gd name="connsiteX1" fmla="*/ 0 w 4053297"/>
              <a:gd name="connsiteY1" fmla="*/ 2257095 h 2270019"/>
              <a:gd name="connsiteX2" fmla="*/ 9618 w 4053297"/>
              <a:gd name="connsiteY2" fmla="*/ 494593 h 2270019"/>
              <a:gd name="connsiteX3" fmla="*/ 296648 w 4053297"/>
              <a:gd name="connsiteY3" fmla="*/ 904809 h 2270019"/>
              <a:gd name="connsiteX4" fmla="*/ 3530666 w 4053297"/>
              <a:gd name="connsiteY4" fmla="*/ 25846 h 2270019"/>
              <a:gd name="connsiteX5" fmla="*/ 3866335 w 4053297"/>
              <a:gd name="connsiteY5" fmla="*/ 2270019 h 227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53297" h="2270019">
                <a:moveTo>
                  <a:pt x="3866335" y="2270019"/>
                </a:moveTo>
                <a:lnTo>
                  <a:pt x="0" y="2257095"/>
                </a:lnTo>
                <a:cubicBezTo>
                  <a:pt x="-48" y="2101642"/>
                  <a:pt x="4621" y="1271583"/>
                  <a:pt x="9618" y="494593"/>
                </a:cubicBezTo>
                <a:lnTo>
                  <a:pt x="296648" y="904809"/>
                </a:lnTo>
                <a:cubicBezTo>
                  <a:pt x="1185936" y="1154793"/>
                  <a:pt x="2935718" y="-201689"/>
                  <a:pt x="3530666" y="25846"/>
                </a:cubicBezTo>
                <a:cubicBezTo>
                  <a:pt x="4125614" y="253381"/>
                  <a:pt x="4175747" y="1615265"/>
                  <a:pt x="3866335" y="2270019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4" name="Graphic 9">
            <a:extLst>
              <a:ext uri="{FF2B5EF4-FFF2-40B4-BE49-F238E27FC236}">
                <a16:creationId xmlns="" xmlns:a16="http://schemas.microsoft.com/office/drawing/2014/main" id="{4B86FC3C-4C67-4716-8E57-445E16FA55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988" y="404813"/>
            <a:ext cx="2315572" cy="51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935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=""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052854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2" orient="horz" pos="9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95E61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4822491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6" y="5921017"/>
            <a:ext cx="3911494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39801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2826" y="591671"/>
            <a:ext cx="5392948" cy="281043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>
                <a:solidFill>
                  <a:schemeClr val="accent2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721705" y="5921017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847042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976F93-8511-4A9A-8C81-04F49E7FD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7DFBCCC-7943-41D7-A4E6-5EAF070AE2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38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pgemini.com/optimize-your-business-and-it-operations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sv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42" r:id="rId4"/>
    <p:sldLayoutId id="2147483909" r:id="rId5"/>
    <p:sldLayoutId id="2147483910" r:id="rId6"/>
  </p:sldLayoutIdLst>
  <p:hf sldNum="0" hd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7506">
          <p15:clr>
            <a:srgbClr val="F26B43"/>
          </p15:clr>
        </p15:guide>
        <p15:guide id="3" pos="2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F2EB016D-CF9A-4584-982E-40465F70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067" y="1412875"/>
            <a:ext cx="11370945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5" name="Conector reto 49">
            <a:extLst>
              <a:ext uri="{FF2B5EF4-FFF2-40B4-BE49-F238E27FC236}">
                <a16:creationId xmlns:a16="http://schemas.microsoft.com/office/drawing/2014/main" xmlns="" id="{3E818917-538C-4A33-932D-D9A08033D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86000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bg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7">
            <a:hlinkClick r:id="rId3"/>
            <a:extLst>
              <a:ext uri="{FF2B5EF4-FFF2-40B4-BE49-F238E27FC236}">
                <a16:creationId xmlns:a16="http://schemas.microsoft.com/office/drawing/2014/main" xmlns="" id="{1ACD14BB-3A80-4D71-955C-EA56362EFDAE}"/>
              </a:ext>
            </a:extLst>
          </p:cNvPr>
          <p:cNvSpPr/>
          <p:nvPr userDrawn="1"/>
        </p:nvSpPr>
        <p:spPr>
          <a:xfrm>
            <a:off x="407988" y="6555971"/>
            <a:ext cx="282900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00458D"/>
                </a:solidFill>
                <a:cs typeface="Arial" panose="020B0604020202020204" pitchFamily="34" charset="0"/>
              </a:rPr>
              <a:t>H1 Review 2018 | June 2018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1209CB4-881A-45A1-A149-8DC3FC1B489C}"/>
              </a:ext>
            </a:extLst>
          </p:cNvPr>
          <p:cNvSpPr/>
          <p:nvPr userDrawn="1"/>
        </p:nvSpPr>
        <p:spPr>
          <a:xfrm>
            <a:off x="11665391" y="6555758"/>
            <a:ext cx="3609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EDEDED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Retângulo 43">
            <a:extLst>
              <a:ext uri="{FF2B5EF4-FFF2-40B4-BE49-F238E27FC236}">
                <a16:creationId xmlns:a16="http://schemas.microsoft.com/office/drawing/2014/main" xmlns="" id="{DA13A745-E3D4-4694-8E12-1115606A5FE6}"/>
              </a:ext>
            </a:extLst>
          </p:cNvPr>
          <p:cNvSpPr/>
          <p:nvPr userDrawn="1"/>
        </p:nvSpPr>
        <p:spPr>
          <a:xfrm>
            <a:off x="2413705" y="6555758"/>
            <a:ext cx="2223686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8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8E08314B-7B3A-4958-AA0A-43518BA6E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8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28600" algn="l" defTabSz="914400" rtl="0" eaLnBrk="1" latinLnBrk="0" hangingPunct="1">
        <a:lnSpc>
          <a:spcPts val="18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ts val="14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55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065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89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journaldev.com/21855/mockito-verify" TargetMode="Externa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70AD"/>
                </a:solidFill>
              </a:rPr>
              <a:t>EXPENSE CLAIM MODULE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ocation, Date, Author</a:t>
            </a:r>
          </a:p>
        </p:txBody>
      </p:sp>
    </p:spTree>
    <p:extLst>
      <p:ext uri="{BB962C8B-B14F-4D97-AF65-F5344CB8AC3E}">
        <p14:creationId xmlns:p14="http://schemas.microsoft.com/office/powerpoint/2010/main" val="3260867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LETE </a:t>
            </a:r>
            <a:r>
              <a:rPr lang="en-US" sz="3600" dirty="0"/>
              <a:t>AN EXPENSE CLAIM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83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Testing and Logger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000" y="1845000"/>
            <a:ext cx="10080000" cy="3888000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/>
              <a:t>In this module we have implemented Mockito Testing framework . In which we have tested both the “Behavior Verification” as well as the “Verify Interaction”.</a:t>
            </a:r>
          </a:p>
          <a:p>
            <a:pPr algn="l"/>
            <a:endParaRPr lang="en-US" sz="2000" dirty="0"/>
          </a:p>
          <a:p>
            <a:pPr algn="l"/>
            <a:r>
              <a:rPr lang="en-US" sz="2000" dirty="0"/>
              <a:t>To add a behavior to the mocked class </a:t>
            </a:r>
            <a:r>
              <a:rPr lang="en-US" sz="2000" dirty="0"/>
              <a:t>when()</a:t>
            </a:r>
            <a:r>
              <a:rPr lang="en-US" sz="2000" dirty="0"/>
              <a:t> and </a:t>
            </a:r>
            <a:r>
              <a:rPr lang="en-US" sz="2000" dirty="0" err="1"/>
              <a:t>thenReturn</a:t>
            </a:r>
            <a:r>
              <a:rPr lang="en-US" sz="2000" dirty="0"/>
              <a:t>()</a:t>
            </a:r>
            <a:r>
              <a:rPr lang="en-US" sz="2000" dirty="0"/>
              <a:t> functions are used</a:t>
            </a:r>
            <a:r>
              <a:rPr lang="en-US" sz="2000" dirty="0" smtClean="0"/>
              <a:t>.</a:t>
            </a:r>
            <a:r>
              <a:rPr lang="en-US" sz="2000" dirty="0">
                <a:hlinkClick r:id="rId2"/>
              </a:rPr>
              <a:t> Mockito verify</a:t>
            </a:r>
            <a:r>
              <a:rPr lang="en-US" sz="2000" dirty="0"/>
              <a:t>() method checks that a method is called with the right </a:t>
            </a:r>
            <a:r>
              <a:rPr lang="en-US" sz="2000" dirty="0" smtClean="0"/>
              <a:t>parameters.</a:t>
            </a:r>
          </a:p>
          <a:p>
            <a:pPr algn="l"/>
            <a:endParaRPr lang="en-US" sz="2000" dirty="0" smtClean="0"/>
          </a:p>
          <a:p>
            <a:pPr algn="l"/>
            <a:r>
              <a:rPr lang="en-US" sz="2000" dirty="0" smtClean="0"/>
              <a:t>Logger is implemented using log4j.</a:t>
            </a:r>
            <a:endParaRPr lang="en-US" sz="2000" dirty="0"/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6923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5334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Deployment On Cloud(AWS) 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468000" cy="3556800"/>
          </a:xfrm>
        </p:spPr>
        <p:txBody>
          <a:bodyPr/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We have created EC2 Amazon Linux instanc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We have import the jar files from spring boot application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Then we </a:t>
            </a:r>
            <a:r>
              <a:rPr lang="en-US" dirty="0"/>
              <a:t>h</a:t>
            </a:r>
            <a:r>
              <a:rPr lang="en-US" dirty="0" smtClean="0"/>
              <a:t>ave created a docker file to convert the jar files into docker images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dirty="0" smtClean="0"/>
              <a:t>Docker image will create the environment for mysql</a:t>
            </a:r>
            <a:r>
              <a:rPr lang="en-US" dirty="0"/>
              <a:t>.</a:t>
            </a:r>
            <a:endParaRPr lang="en-US" dirty="0" smtClean="0"/>
          </a:p>
          <a:p>
            <a:pPr marL="342900" indent="-342900" algn="l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47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/>
              <a:t>Thank You !</a:t>
            </a:r>
            <a:endParaRPr lang="en-US" sz="8800" dirty="0"/>
          </a:p>
        </p:txBody>
      </p:sp>
    </p:spTree>
    <p:extLst>
      <p:ext uri="{BB962C8B-B14F-4D97-AF65-F5344CB8AC3E}">
        <p14:creationId xmlns:p14="http://schemas.microsoft.com/office/powerpoint/2010/main" val="1433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600200" y="381000"/>
            <a:ext cx="7772400" cy="91440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ABSTRACT</a:t>
            </a:r>
            <a:endParaRPr lang="en-US" sz="36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524000" y="1524000"/>
            <a:ext cx="9144000" cy="37338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37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609600"/>
            <a:ext cx="9144000" cy="766763"/>
          </a:xfrm>
        </p:spPr>
        <p:txBody>
          <a:bodyPr/>
          <a:lstStyle/>
          <a:p>
            <a:pPr algn="l"/>
            <a:r>
              <a:rPr lang="en-US" sz="3600" dirty="0" smtClean="0"/>
              <a:t>CONTEN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350645"/>
              </p:ext>
            </p:extLst>
          </p:nvPr>
        </p:nvGraphicFramePr>
        <p:xfrm>
          <a:off x="1066800" y="2057400"/>
          <a:ext cx="8128000" cy="369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6832600"/>
              </a:tblGrid>
              <a:tr h="328506">
                <a:tc>
                  <a:txBody>
                    <a:bodyPr/>
                    <a:lstStyle/>
                    <a:p>
                      <a:r>
                        <a:rPr lang="en-US" dirty="0" smtClean="0"/>
                        <a:t>S.no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pic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ule Introduction</a:t>
                      </a:r>
                      <a:endParaRPr lang="en-US" dirty="0"/>
                    </a:p>
                  </a:txBody>
                  <a:tcPr/>
                </a:tc>
              </a:tr>
              <a:tr h="33020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unctionaliti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laim</a:t>
                      </a:r>
                      <a:r>
                        <a:rPr lang="en-US" baseline="0" dirty="0" smtClean="0"/>
                        <a:t> an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All Expense Claime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View</a:t>
                      </a:r>
                      <a:r>
                        <a:rPr lang="en-US" baseline="0" dirty="0" smtClean="0"/>
                        <a:t> Expense Claimed by Id</a:t>
                      </a:r>
                      <a:endParaRPr lang="en-US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pdate Expen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lete Expense</a:t>
                      </a:r>
                      <a:r>
                        <a:rPr lang="en-US" baseline="0" dirty="0" smtClean="0"/>
                        <a:t> by Id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sting and Logge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ployment on Cloud(AWS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20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MODULE INTRODUCTION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600200"/>
            <a:ext cx="9296400" cy="36576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7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457200"/>
            <a:ext cx="9144000" cy="7667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FUCTIONALITIE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2000" y="2565000"/>
            <a:ext cx="9756000" cy="2692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Claim An Expense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All Expense Claim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View Expense Claim By Id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pdate An Expense Claim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Delete An Expense Claim By I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35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81000"/>
            <a:ext cx="9144000" cy="690563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CLAIM</a:t>
            </a:r>
            <a:r>
              <a:rPr lang="en-US" dirty="0" smtClean="0"/>
              <a:t> </a:t>
            </a:r>
            <a:r>
              <a:rPr lang="en-US" sz="3600" dirty="0" smtClean="0"/>
              <a:t>AN EXPENSE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000" y="1701000"/>
            <a:ext cx="9936000" cy="35568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In this functionality user will choose the Employee Id, Expense Code Id, Project Code Id from drop-down menu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/>
              <a:t>If valid, the corresponding details will be fetched from Employee Code Module and </a:t>
            </a:r>
            <a:r>
              <a:rPr lang="en-US" sz="2000" dirty="0" smtClean="0"/>
              <a:t>displayed else , the </a:t>
            </a:r>
            <a:r>
              <a:rPr lang="en-US" sz="2000" dirty="0"/>
              <a:t>error message will be displayed and the user will not be able to proceed </a:t>
            </a:r>
            <a:r>
              <a:rPr lang="en-US" sz="2000" dirty="0" smtClean="0"/>
              <a:t>further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User will enter start date , end date, Expense Amount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After validation is done on comparing dates the values will be stored </a:t>
            </a:r>
            <a:r>
              <a:rPr lang="en-US" sz="2000" dirty="0"/>
              <a:t>into the </a:t>
            </a:r>
            <a:r>
              <a:rPr lang="en-US" sz="2000" dirty="0" smtClean="0"/>
              <a:t>database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The Expense Claim Id will be auto-generated.</a:t>
            </a:r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8939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9144000" cy="6143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ALL EXPENSE CLAI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81000"/>
            <a:ext cx="9144000" cy="6905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VIEW EXPENSE CLAIM BY ID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53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609600"/>
            <a:ext cx="9144000" cy="538163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UPDATE AN </a:t>
            </a:r>
            <a:r>
              <a:rPr lang="en-US" sz="3600" dirty="0"/>
              <a:t>EXPENSE </a:t>
            </a:r>
            <a:r>
              <a:rPr lang="en-US" sz="3600" dirty="0" smtClean="0"/>
              <a:t>CLAIM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945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-template.potx" id="{18FE7168-D87E-42AB-B386-4F7E19B889AB}" vid="{BBB9F49C-7C56-443B-8448-8AD796982054}"/>
    </a:ext>
  </a:extLst>
</a:theme>
</file>

<file path=ppt/theme/theme2.xml><?xml version="1.0" encoding="utf-8"?>
<a:theme xmlns:a="http://schemas.openxmlformats.org/drawingml/2006/main" name="Content and Image Layout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eize the Possibilities 2017" id="{EE6B8699-DD5E-42BE-9B70-27D590C0B319}" vid="{6CAB604D-E609-48C2-8EA9-996CB507E44F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89B670354C7459E59B9708523F8ED" ma:contentTypeVersion="5" ma:contentTypeDescription="Create a new document." ma:contentTypeScope="" ma:versionID="8915764e33a79193e684956f9e6233d5">
  <xsd:schema xmlns:xsd="http://www.w3.org/2001/XMLSchema" xmlns:xs="http://www.w3.org/2001/XMLSchema" xmlns:p="http://schemas.microsoft.com/office/2006/metadata/properties" xmlns:ns2="615c658d-3b73-47f5-bc47-c6e0fae65383" targetNamespace="http://schemas.microsoft.com/office/2006/metadata/properties" ma:root="true" ma:fieldsID="799bef5cae8c923829a5db30917ffa92" ns2:_="">
    <xsd:import namespace="615c658d-3b73-47f5-bc47-c6e0fae65383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5c658d-3b73-47f5-bc47-c6e0fae65383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Capgemini_Standard_Templates"/>
          <xsd:enumeration value="Key_Accounts_Response_Templates"/>
          <xsd:enumeration value="Multimedia and Creative Submissions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615c658d-3b73-47f5-bc47-c6e0fae65383">Capgemini_Standard_Templates</Category>
  </documentManagement>
</p:properties>
</file>

<file path=customXml/itemProps1.xml><?xml version="1.0" encoding="utf-8"?>
<ds:datastoreItem xmlns:ds="http://schemas.openxmlformats.org/officeDocument/2006/customXml" ds:itemID="{1F6A2FF1-62C2-46A7-90ED-7E265E66F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5c658d-3b73-47f5-bc47-c6e0fae653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04E931C-125C-4B6F-B15A-19FB1A8CCC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77489C-A5B0-4849-8C29-C2EE30851EB7}">
  <ds:schemaRefs>
    <ds:schemaRef ds:uri="http://schemas.microsoft.com/office/2006/metadata/properties"/>
    <ds:schemaRef ds:uri="http://schemas.microsoft.com/office/infopath/2007/PartnerControls"/>
    <ds:schemaRef ds:uri="615c658d-3b73-47f5-bc47-c6e0fae6538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7</TotalTime>
  <Words>278</Words>
  <Application>Microsoft Office PowerPoint</Application>
  <PresentationFormat>Custom</PresentationFormat>
  <Paragraphs>54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Title Slide</vt:lpstr>
      <vt:lpstr>Content and Image Layouts</vt:lpstr>
      <vt:lpstr>think-cell Slide</vt:lpstr>
      <vt:lpstr>PowerPoint Presentation</vt:lpstr>
      <vt:lpstr>ABSTRACT</vt:lpstr>
      <vt:lpstr>CONTENTS</vt:lpstr>
      <vt:lpstr>MODULE INTRODUCTION</vt:lpstr>
      <vt:lpstr>FUCTIONALITIES</vt:lpstr>
      <vt:lpstr>CLAIM AN EXPENSE</vt:lpstr>
      <vt:lpstr>VIEW ALL EXPENSE CLAIMS</vt:lpstr>
      <vt:lpstr>VIEW EXPENSE CLAIM BY ID</vt:lpstr>
      <vt:lpstr>UPDATE AN EXPENSE CLAIM</vt:lpstr>
      <vt:lpstr>DELETE AN EXPENSE CLAIM</vt:lpstr>
      <vt:lpstr>Testing and Logger</vt:lpstr>
      <vt:lpstr>Deployment On Cloud(AWS) </vt:lpstr>
      <vt:lpstr>Thank You !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Capgemini</dc:creator>
  <cp:lastModifiedBy>Singh, Amanjot</cp:lastModifiedBy>
  <cp:revision>53</cp:revision>
  <dcterms:created xsi:type="dcterms:W3CDTF">2017-11-02T14:01:05Z</dcterms:created>
  <dcterms:modified xsi:type="dcterms:W3CDTF">2019-10-03T08:5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89B670354C7459E59B9708523F8ED</vt:lpwstr>
  </property>
</Properties>
</file>